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Lst>
  <p:notesMasterIdLst>
    <p:notesMasterId r:id="rId20"/>
  </p:notesMasterIdLst>
  <p:sldIdLst>
    <p:sldId id="1390" r:id="rId4"/>
    <p:sldId id="598" r:id="rId5"/>
    <p:sldId id="600" r:id="rId6"/>
    <p:sldId id="622" r:id="rId7"/>
    <p:sldId id="621" r:id="rId8"/>
    <p:sldId id="601" r:id="rId9"/>
    <p:sldId id="603" r:id="rId10"/>
    <p:sldId id="258" r:id="rId11"/>
    <p:sldId id="1391" r:id="rId12"/>
    <p:sldId id="495" r:id="rId13"/>
    <p:sldId id="483" r:id="rId14"/>
    <p:sldId id="597" r:id="rId15"/>
    <p:sldId id="386" r:id="rId16"/>
    <p:sldId id="599" r:id="rId17"/>
    <p:sldId id="602" r:id="rId18"/>
    <p:sldId id="261" r:id="rId19"/>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56C0F2-14DB-4C31-977E-939312C6544A}" v="9" dt="2024-06-18T12:21:52.4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9523" autoAdjust="0"/>
  </p:normalViewPr>
  <p:slideViewPr>
    <p:cSldViewPr snapToGrid="0">
      <p:cViewPr varScale="1">
        <p:scale>
          <a:sx n="68" d="100"/>
          <a:sy n="68" d="100"/>
        </p:scale>
        <p:origin x="1262" y="38"/>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rben ter Riet" userId="3ac6bf19-0280-481e-9025-ee7d4fbb1be3" providerId="ADAL" clId="{CD56C0F2-14DB-4C31-977E-939312C6544A}"/>
    <pc:docChg chg="undo custSel addSld delSld modSld sldOrd">
      <pc:chgData name="Gerben ter Riet" userId="3ac6bf19-0280-481e-9025-ee7d4fbb1be3" providerId="ADAL" clId="{CD56C0F2-14DB-4C31-977E-939312C6544A}" dt="2024-06-18T12:22:00.365" v="852"/>
      <pc:docMkLst>
        <pc:docMk/>
      </pc:docMkLst>
      <pc:sldChg chg="modSp mod modNotesTx">
        <pc:chgData name="Gerben ter Riet" userId="3ac6bf19-0280-481e-9025-ee7d4fbb1be3" providerId="ADAL" clId="{CD56C0F2-14DB-4C31-977E-939312C6544A}" dt="2024-06-18T12:09:42.357" v="522" actId="207"/>
        <pc:sldMkLst>
          <pc:docMk/>
          <pc:sldMk cId="0" sldId="258"/>
        </pc:sldMkLst>
        <pc:spChg chg="mod">
          <ac:chgData name="Gerben ter Riet" userId="3ac6bf19-0280-481e-9025-ee7d4fbb1be3" providerId="ADAL" clId="{CD56C0F2-14DB-4C31-977E-939312C6544A}" dt="2024-06-18T12:09:42.357" v="522" actId="207"/>
          <ac:spMkLst>
            <pc:docMk/>
            <pc:sldMk cId="0" sldId="258"/>
            <ac:spMk id="4" creationId="{468D700A-E808-4E0E-9C7B-6C95A272CC85}"/>
          </ac:spMkLst>
        </pc:spChg>
      </pc:sldChg>
      <pc:sldChg chg="ord">
        <pc:chgData name="Gerben ter Riet" userId="3ac6bf19-0280-481e-9025-ee7d4fbb1be3" providerId="ADAL" clId="{CD56C0F2-14DB-4C31-977E-939312C6544A}" dt="2024-06-17T22:23:59.619" v="281"/>
        <pc:sldMkLst>
          <pc:docMk/>
          <pc:sldMk cId="3612023791" sldId="261"/>
        </pc:sldMkLst>
      </pc:sldChg>
      <pc:sldChg chg="add">
        <pc:chgData name="Gerben ter Riet" userId="3ac6bf19-0280-481e-9025-ee7d4fbb1be3" providerId="ADAL" clId="{CD56C0F2-14DB-4C31-977E-939312C6544A}" dt="2024-06-17T22:24:54.911" v="282"/>
        <pc:sldMkLst>
          <pc:docMk/>
          <pc:sldMk cId="662070208" sldId="386"/>
        </pc:sldMkLst>
      </pc:sldChg>
      <pc:sldChg chg="modSp mod">
        <pc:chgData name="Gerben ter Riet" userId="3ac6bf19-0280-481e-9025-ee7d4fbb1be3" providerId="ADAL" clId="{CD56C0F2-14DB-4C31-977E-939312C6544A}" dt="2024-06-18T12:15:43.834" v="675" actId="1038"/>
        <pc:sldMkLst>
          <pc:docMk/>
          <pc:sldMk cId="2537213723" sldId="483"/>
        </pc:sldMkLst>
        <pc:spChg chg="mod">
          <ac:chgData name="Gerben ter Riet" userId="3ac6bf19-0280-481e-9025-ee7d4fbb1be3" providerId="ADAL" clId="{CD56C0F2-14DB-4C31-977E-939312C6544A}" dt="2024-06-18T12:15:29.035" v="673" actId="6549"/>
          <ac:spMkLst>
            <pc:docMk/>
            <pc:sldMk cId="2537213723" sldId="483"/>
            <ac:spMk id="3" creationId="{51371083-A0CC-F671-F59C-AEBC51C8DD6C}"/>
          </ac:spMkLst>
        </pc:spChg>
        <pc:picChg chg="mod">
          <ac:chgData name="Gerben ter Riet" userId="3ac6bf19-0280-481e-9025-ee7d4fbb1be3" providerId="ADAL" clId="{CD56C0F2-14DB-4C31-977E-939312C6544A}" dt="2024-06-18T12:15:43.834" v="675" actId="1038"/>
          <ac:picMkLst>
            <pc:docMk/>
            <pc:sldMk cId="2537213723" sldId="483"/>
            <ac:picMk id="11" creationId="{89B76F24-2ADE-4B56-918D-44024EC891C0}"/>
          </ac:picMkLst>
        </pc:picChg>
      </pc:sldChg>
      <pc:sldChg chg="modSp mod">
        <pc:chgData name="Gerben ter Riet" userId="3ac6bf19-0280-481e-9025-ee7d4fbb1be3" providerId="ADAL" clId="{CD56C0F2-14DB-4C31-977E-939312C6544A}" dt="2024-06-18T12:12:39.478" v="639" actId="113"/>
        <pc:sldMkLst>
          <pc:docMk/>
          <pc:sldMk cId="1048787324" sldId="495"/>
        </pc:sldMkLst>
        <pc:spChg chg="mod">
          <ac:chgData name="Gerben ter Riet" userId="3ac6bf19-0280-481e-9025-ee7d4fbb1be3" providerId="ADAL" clId="{CD56C0F2-14DB-4C31-977E-939312C6544A}" dt="2024-06-18T12:12:39.478" v="639" actId="113"/>
          <ac:spMkLst>
            <pc:docMk/>
            <pc:sldMk cId="1048787324" sldId="495"/>
            <ac:spMk id="3" creationId="{39FB609B-B59E-414E-8ADC-D905371BD583}"/>
          </ac:spMkLst>
        </pc:spChg>
      </pc:sldChg>
      <pc:sldChg chg="addSp modSp mod chgLayout modNotesTx">
        <pc:chgData name="Gerben ter Riet" userId="3ac6bf19-0280-481e-9025-ee7d4fbb1be3" providerId="ADAL" clId="{CD56C0F2-14DB-4C31-977E-939312C6544A}" dt="2024-06-18T12:20:36.224" v="835"/>
        <pc:sldMkLst>
          <pc:docMk/>
          <pc:sldMk cId="1129849657" sldId="597"/>
        </pc:sldMkLst>
        <pc:spChg chg="add mod ord">
          <ac:chgData name="Gerben ter Riet" userId="3ac6bf19-0280-481e-9025-ee7d4fbb1be3" providerId="ADAL" clId="{CD56C0F2-14DB-4C31-977E-939312C6544A}" dt="2024-06-18T12:18:55.774" v="808" actId="1035"/>
          <ac:spMkLst>
            <pc:docMk/>
            <pc:sldMk cId="1129849657" sldId="597"/>
            <ac:spMk id="2" creationId="{0E78AC20-C775-5A56-21EB-8DD667C802D4}"/>
          </ac:spMkLst>
        </pc:spChg>
        <pc:graphicFrameChg chg="mod ord modGraphic">
          <ac:chgData name="Gerben ter Riet" userId="3ac6bf19-0280-481e-9025-ee7d4fbb1be3" providerId="ADAL" clId="{CD56C0F2-14DB-4C31-977E-939312C6544A}" dt="2024-06-18T12:19:18.285" v="833" actId="1035"/>
          <ac:graphicFrameMkLst>
            <pc:docMk/>
            <pc:sldMk cId="1129849657" sldId="597"/>
            <ac:graphicFrameMk id="4" creationId="{2C76AFCC-E0B5-4A2A-E79F-928623B71FA3}"/>
          </ac:graphicFrameMkLst>
        </pc:graphicFrameChg>
      </pc:sldChg>
      <pc:sldChg chg="add setBg">
        <pc:chgData name="Gerben ter Riet" userId="3ac6bf19-0280-481e-9025-ee7d4fbb1be3" providerId="ADAL" clId="{CD56C0F2-14DB-4C31-977E-939312C6544A}" dt="2024-06-17T22:21:23.268" v="279"/>
        <pc:sldMkLst>
          <pc:docMk/>
          <pc:sldMk cId="2647080230" sldId="599"/>
        </pc:sldMkLst>
      </pc:sldChg>
      <pc:sldChg chg="del">
        <pc:chgData name="Gerben ter Riet" userId="3ac6bf19-0280-481e-9025-ee7d4fbb1be3" providerId="ADAL" clId="{CD56C0F2-14DB-4C31-977E-939312C6544A}" dt="2024-06-17T22:21:20.346" v="278" actId="2696"/>
        <pc:sldMkLst>
          <pc:docMk/>
          <pc:sldMk cId="3568370958" sldId="599"/>
        </pc:sldMkLst>
      </pc:sldChg>
      <pc:sldChg chg="modSp mod">
        <pc:chgData name="Gerben ter Riet" userId="3ac6bf19-0280-481e-9025-ee7d4fbb1be3" providerId="ADAL" clId="{CD56C0F2-14DB-4C31-977E-939312C6544A}" dt="2024-06-17T21:07:51.412" v="244" actId="14100"/>
        <pc:sldMkLst>
          <pc:docMk/>
          <pc:sldMk cId="1184513684" sldId="600"/>
        </pc:sldMkLst>
        <pc:picChg chg="mod">
          <ac:chgData name="Gerben ter Riet" userId="3ac6bf19-0280-481e-9025-ee7d4fbb1be3" providerId="ADAL" clId="{CD56C0F2-14DB-4C31-977E-939312C6544A}" dt="2024-06-17T21:07:44.067" v="242" actId="14100"/>
          <ac:picMkLst>
            <pc:docMk/>
            <pc:sldMk cId="1184513684" sldId="600"/>
            <ac:picMk id="3" creationId="{EB339D68-707F-22E9-FCE6-DEE902B85B77}"/>
          </ac:picMkLst>
        </pc:picChg>
        <pc:picChg chg="mod">
          <ac:chgData name="Gerben ter Riet" userId="3ac6bf19-0280-481e-9025-ee7d4fbb1be3" providerId="ADAL" clId="{CD56C0F2-14DB-4C31-977E-939312C6544A}" dt="2024-06-17T21:07:51.412" v="244" actId="14100"/>
          <ac:picMkLst>
            <pc:docMk/>
            <pc:sldMk cId="1184513684" sldId="600"/>
            <ac:picMk id="5" creationId="{C53910AF-26D5-0CAF-0627-2E0C85820716}"/>
          </ac:picMkLst>
        </pc:picChg>
      </pc:sldChg>
      <pc:sldChg chg="modSp mod modNotesTx">
        <pc:chgData name="Gerben ter Riet" userId="3ac6bf19-0280-481e-9025-ee7d4fbb1be3" providerId="ADAL" clId="{CD56C0F2-14DB-4C31-977E-939312C6544A}" dt="2024-06-18T12:02:28.219" v="379" actId="20577"/>
        <pc:sldMkLst>
          <pc:docMk/>
          <pc:sldMk cId="3498385493" sldId="601"/>
        </pc:sldMkLst>
        <pc:picChg chg="mod">
          <ac:chgData name="Gerben ter Riet" userId="3ac6bf19-0280-481e-9025-ee7d4fbb1be3" providerId="ADAL" clId="{CD56C0F2-14DB-4C31-977E-939312C6544A}" dt="2024-06-17T21:11:45.316" v="245" actId="14100"/>
          <ac:picMkLst>
            <pc:docMk/>
            <pc:sldMk cId="3498385493" sldId="601"/>
            <ac:picMk id="5" creationId="{758CB26A-41CA-B7ED-03E1-25FFF528D0F2}"/>
          </ac:picMkLst>
        </pc:picChg>
      </pc:sldChg>
      <pc:sldChg chg="addSp delSp modSp del mod delAnim modAnim">
        <pc:chgData name="Gerben ter Riet" userId="3ac6bf19-0280-481e-9025-ee7d4fbb1be3" providerId="ADAL" clId="{CD56C0F2-14DB-4C31-977E-939312C6544A}" dt="2024-06-17T22:21:20.346" v="278" actId="2696"/>
        <pc:sldMkLst>
          <pc:docMk/>
          <pc:sldMk cId="2685051430" sldId="602"/>
        </pc:sldMkLst>
        <pc:picChg chg="add del">
          <ac:chgData name="Gerben ter Riet" userId="3ac6bf19-0280-481e-9025-ee7d4fbb1be3" providerId="ADAL" clId="{CD56C0F2-14DB-4C31-977E-939312C6544A}" dt="2024-06-17T19:03:57.692" v="108" actId="478"/>
          <ac:picMkLst>
            <pc:docMk/>
            <pc:sldMk cId="2685051430" sldId="602"/>
            <ac:picMk id="3" creationId="{717FD95A-FB13-7D9F-999A-735E5B9A9C59}"/>
          </ac:picMkLst>
        </pc:picChg>
        <pc:picChg chg="add del mod">
          <ac:chgData name="Gerben ter Riet" userId="3ac6bf19-0280-481e-9025-ee7d4fbb1be3" providerId="ADAL" clId="{CD56C0F2-14DB-4C31-977E-939312C6544A}" dt="2024-06-17T19:08:04.929" v="136" actId="478"/>
          <ac:picMkLst>
            <pc:docMk/>
            <pc:sldMk cId="2685051430" sldId="602"/>
            <ac:picMk id="6" creationId="{E1BF1222-32F2-1DB2-4072-A864F4B63964}"/>
          </ac:picMkLst>
        </pc:picChg>
      </pc:sldChg>
      <pc:sldChg chg="add setBg">
        <pc:chgData name="Gerben ter Riet" userId="3ac6bf19-0280-481e-9025-ee7d4fbb1be3" providerId="ADAL" clId="{CD56C0F2-14DB-4C31-977E-939312C6544A}" dt="2024-06-17T22:21:23.268" v="279"/>
        <pc:sldMkLst>
          <pc:docMk/>
          <pc:sldMk cId="3563184834" sldId="602"/>
        </pc:sldMkLst>
      </pc:sldChg>
      <pc:sldChg chg="del">
        <pc:chgData name="Gerben ter Riet" userId="3ac6bf19-0280-481e-9025-ee7d4fbb1be3" providerId="ADAL" clId="{CD56C0F2-14DB-4C31-977E-939312C6544A}" dt="2024-06-17T18:34:42.948" v="59" actId="47"/>
        <pc:sldMkLst>
          <pc:docMk/>
          <pc:sldMk cId="1129111887" sldId="604"/>
        </pc:sldMkLst>
      </pc:sldChg>
      <pc:sldChg chg="del">
        <pc:chgData name="Gerben ter Riet" userId="3ac6bf19-0280-481e-9025-ee7d4fbb1be3" providerId="ADAL" clId="{CD56C0F2-14DB-4C31-977E-939312C6544A}" dt="2024-06-17T18:34:42.948" v="59" actId="47"/>
        <pc:sldMkLst>
          <pc:docMk/>
          <pc:sldMk cId="3427906228" sldId="605"/>
        </pc:sldMkLst>
      </pc:sldChg>
      <pc:sldChg chg="del">
        <pc:chgData name="Gerben ter Riet" userId="3ac6bf19-0280-481e-9025-ee7d4fbb1be3" providerId="ADAL" clId="{CD56C0F2-14DB-4C31-977E-939312C6544A}" dt="2024-06-17T18:34:42.948" v="59" actId="47"/>
        <pc:sldMkLst>
          <pc:docMk/>
          <pc:sldMk cId="4287600900" sldId="608"/>
        </pc:sldMkLst>
      </pc:sldChg>
      <pc:sldChg chg="del">
        <pc:chgData name="Gerben ter Riet" userId="3ac6bf19-0280-481e-9025-ee7d4fbb1be3" providerId="ADAL" clId="{CD56C0F2-14DB-4C31-977E-939312C6544A}" dt="2024-06-17T18:34:42.948" v="59" actId="47"/>
        <pc:sldMkLst>
          <pc:docMk/>
          <pc:sldMk cId="2704767663" sldId="609"/>
        </pc:sldMkLst>
      </pc:sldChg>
      <pc:sldChg chg="del">
        <pc:chgData name="Gerben ter Riet" userId="3ac6bf19-0280-481e-9025-ee7d4fbb1be3" providerId="ADAL" clId="{CD56C0F2-14DB-4C31-977E-939312C6544A}" dt="2024-06-17T18:34:42.948" v="59" actId="47"/>
        <pc:sldMkLst>
          <pc:docMk/>
          <pc:sldMk cId="2879614620" sldId="610"/>
        </pc:sldMkLst>
      </pc:sldChg>
      <pc:sldChg chg="del">
        <pc:chgData name="Gerben ter Riet" userId="3ac6bf19-0280-481e-9025-ee7d4fbb1be3" providerId="ADAL" clId="{CD56C0F2-14DB-4C31-977E-939312C6544A}" dt="2024-06-17T18:34:42.948" v="59" actId="47"/>
        <pc:sldMkLst>
          <pc:docMk/>
          <pc:sldMk cId="3185832110" sldId="611"/>
        </pc:sldMkLst>
      </pc:sldChg>
      <pc:sldChg chg="del">
        <pc:chgData name="Gerben ter Riet" userId="3ac6bf19-0280-481e-9025-ee7d4fbb1be3" providerId="ADAL" clId="{CD56C0F2-14DB-4C31-977E-939312C6544A}" dt="2024-06-17T18:34:42.948" v="59" actId="47"/>
        <pc:sldMkLst>
          <pc:docMk/>
          <pc:sldMk cId="4163276447" sldId="612"/>
        </pc:sldMkLst>
      </pc:sldChg>
      <pc:sldChg chg="del">
        <pc:chgData name="Gerben ter Riet" userId="3ac6bf19-0280-481e-9025-ee7d4fbb1be3" providerId="ADAL" clId="{CD56C0F2-14DB-4C31-977E-939312C6544A}" dt="2024-06-17T18:34:42.948" v="59" actId="47"/>
        <pc:sldMkLst>
          <pc:docMk/>
          <pc:sldMk cId="2824948465" sldId="613"/>
        </pc:sldMkLst>
      </pc:sldChg>
      <pc:sldChg chg="del">
        <pc:chgData name="Gerben ter Riet" userId="3ac6bf19-0280-481e-9025-ee7d4fbb1be3" providerId="ADAL" clId="{CD56C0F2-14DB-4C31-977E-939312C6544A}" dt="2024-06-17T18:34:42.948" v="59" actId="47"/>
        <pc:sldMkLst>
          <pc:docMk/>
          <pc:sldMk cId="2559891724" sldId="614"/>
        </pc:sldMkLst>
      </pc:sldChg>
      <pc:sldChg chg="del">
        <pc:chgData name="Gerben ter Riet" userId="3ac6bf19-0280-481e-9025-ee7d4fbb1be3" providerId="ADAL" clId="{CD56C0F2-14DB-4C31-977E-939312C6544A}" dt="2024-06-17T18:34:42.948" v="59" actId="47"/>
        <pc:sldMkLst>
          <pc:docMk/>
          <pc:sldMk cId="2141419000" sldId="615"/>
        </pc:sldMkLst>
      </pc:sldChg>
      <pc:sldChg chg="del">
        <pc:chgData name="Gerben ter Riet" userId="3ac6bf19-0280-481e-9025-ee7d4fbb1be3" providerId="ADAL" clId="{CD56C0F2-14DB-4C31-977E-939312C6544A}" dt="2024-06-17T18:34:42.948" v="59" actId="47"/>
        <pc:sldMkLst>
          <pc:docMk/>
          <pc:sldMk cId="3763229107" sldId="616"/>
        </pc:sldMkLst>
      </pc:sldChg>
      <pc:sldChg chg="del">
        <pc:chgData name="Gerben ter Riet" userId="3ac6bf19-0280-481e-9025-ee7d4fbb1be3" providerId="ADAL" clId="{CD56C0F2-14DB-4C31-977E-939312C6544A}" dt="2024-06-17T18:34:42.948" v="59" actId="47"/>
        <pc:sldMkLst>
          <pc:docMk/>
          <pc:sldMk cId="1294688620" sldId="617"/>
        </pc:sldMkLst>
      </pc:sldChg>
      <pc:sldChg chg="del">
        <pc:chgData name="Gerben ter Riet" userId="3ac6bf19-0280-481e-9025-ee7d4fbb1be3" providerId="ADAL" clId="{CD56C0F2-14DB-4C31-977E-939312C6544A}" dt="2024-06-17T18:34:42.948" v="59" actId="47"/>
        <pc:sldMkLst>
          <pc:docMk/>
          <pc:sldMk cId="3392403964" sldId="618"/>
        </pc:sldMkLst>
      </pc:sldChg>
      <pc:sldChg chg="del">
        <pc:chgData name="Gerben ter Riet" userId="3ac6bf19-0280-481e-9025-ee7d4fbb1be3" providerId="ADAL" clId="{CD56C0F2-14DB-4C31-977E-939312C6544A}" dt="2024-06-17T18:22:11.401" v="58" actId="47"/>
        <pc:sldMkLst>
          <pc:docMk/>
          <pc:sldMk cId="3113838363" sldId="619"/>
        </pc:sldMkLst>
      </pc:sldChg>
      <pc:sldChg chg="del">
        <pc:chgData name="Gerben ter Riet" userId="3ac6bf19-0280-481e-9025-ee7d4fbb1be3" providerId="ADAL" clId="{CD56C0F2-14DB-4C31-977E-939312C6544A}" dt="2024-06-17T18:34:42.948" v="59" actId="47"/>
        <pc:sldMkLst>
          <pc:docMk/>
          <pc:sldMk cId="1873497964" sldId="620"/>
        </pc:sldMkLst>
      </pc:sldChg>
      <pc:sldChg chg="addSp delSp modSp new mod ord setBg modNotesTx">
        <pc:chgData name="Gerben ter Riet" userId="3ac6bf19-0280-481e-9025-ee7d4fbb1be3" providerId="ADAL" clId="{CD56C0F2-14DB-4C31-977E-939312C6544A}" dt="2024-06-18T11:45:18.889" v="285" actId="114"/>
        <pc:sldMkLst>
          <pc:docMk/>
          <pc:sldMk cId="4185519288" sldId="621"/>
        </pc:sldMkLst>
        <pc:spChg chg="add mod">
          <ac:chgData name="Gerben ter Riet" userId="3ac6bf19-0280-481e-9025-ee7d4fbb1be3" providerId="ADAL" clId="{CD56C0F2-14DB-4C31-977E-939312C6544A}" dt="2024-06-18T11:45:18.889" v="285" actId="114"/>
          <ac:spMkLst>
            <pc:docMk/>
            <pc:sldMk cId="4185519288" sldId="621"/>
            <ac:spMk id="3" creationId="{40BD1ECD-80B7-0D8C-1474-F59CD5354057}"/>
          </ac:spMkLst>
        </pc:spChg>
        <pc:spChg chg="add del">
          <ac:chgData name="Gerben ter Riet" userId="3ac6bf19-0280-481e-9025-ee7d4fbb1be3" providerId="ADAL" clId="{CD56C0F2-14DB-4C31-977E-939312C6544A}" dt="2024-06-17T14:15:37.280" v="19" actId="26606"/>
          <ac:spMkLst>
            <pc:docMk/>
            <pc:sldMk cId="4185519288" sldId="621"/>
            <ac:spMk id="9" creationId="{79BB35BC-D5C2-4C8B-A22A-A71E6191913B}"/>
          </ac:spMkLst>
        </pc:spChg>
        <pc:spChg chg="add">
          <ac:chgData name="Gerben ter Riet" userId="3ac6bf19-0280-481e-9025-ee7d4fbb1be3" providerId="ADAL" clId="{CD56C0F2-14DB-4C31-977E-939312C6544A}" dt="2024-06-17T14:15:37.280" v="19" actId="26606"/>
          <ac:spMkLst>
            <pc:docMk/>
            <pc:sldMk cId="4185519288" sldId="621"/>
            <ac:spMk id="14" creationId="{F13C74B1-5B17-4795-BED0-7140497B445A}"/>
          </ac:spMkLst>
        </pc:spChg>
        <pc:spChg chg="add">
          <ac:chgData name="Gerben ter Riet" userId="3ac6bf19-0280-481e-9025-ee7d4fbb1be3" providerId="ADAL" clId="{CD56C0F2-14DB-4C31-977E-939312C6544A}" dt="2024-06-17T14:15:37.280" v="19" actId="26606"/>
          <ac:spMkLst>
            <pc:docMk/>
            <pc:sldMk cId="4185519288" sldId="621"/>
            <ac:spMk id="16" creationId="{D4974D33-8DC5-464E-8C6D-BE58F0669C17}"/>
          </ac:spMkLst>
        </pc:spChg>
        <pc:picChg chg="add mod ord">
          <ac:chgData name="Gerben ter Riet" userId="3ac6bf19-0280-481e-9025-ee7d4fbb1be3" providerId="ADAL" clId="{CD56C0F2-14DB-4C31-977E-939312C6544A}" dt="2024-06-17T14:15:37.280" v="19" actId="26606"/>
          <ac:picMkLst>
            <pc:docMk/>
            <pc:sldMk cId="4185519288" sldId="621"/>
            <ac:picMk id="5" creationId="{C8BB5AFE-9701-869F-40AD-704B1600C3E9}"/>
          </ac:picMkLst>
        </pc:picChg>
      </pc:sldChg>
      <pc:sldChg chg="addSp delSp modSp new mod setBg modClrScheme delDesignElem chgLayout">
        <pc:chgData name="Gerben ter Riet" userId="3ac6bf19-0280-481e-9025-ee7d4fbb1be3" providerId="ADAL" clId="{CD56C0F2-14DB-4C31-977E-939312C6544A}" dt="2024-06-17T19:00:03.276" v="106" actId="26606"/>
        <pc:sldMkLst>
          <pc:docMk/>
          <pc:sldMk cId="126589436" sldId="622"/>
        </pc:sldMkLst>
        <pc:spChg chg="add mod ord">
          <ac:chgData name="Gerben ter Riet" userId="3ac6bf19-0280-481e-9025-ee7d4fbb1be3" providerId="ADAL" clId="{CD56C0F2-14DB-4C31-977E-939312C6544A}" dt="2024-06-17T19:00:03.276" v="106" actId="26606"/>
          <ac:spMkLst>
            <pc:docMk/>
            <pc:sldMk cId="126589436" sldId="622"/>
            <ac:spMk id="2" creationId="{D2AD3D36-D7AF-F6EB-B9C9-DFB631E5E8FA}"/>
          </ac:spMkLst>
        </pc:spChg>
        <pc:spChg chg="add del mod ord">
          <ac:chgData name="Gerben ter Riet" userId="3ac6bf19-0280-481e-9025-ee7d4fbb1be3" providerId="ADAL" clId="{CD56C0F2-14DB-4C31-977E-939312C6544A}" dt="2024-06-17T19:00:00.153" v="105" actId="931"/>
          <ac:spMkLst>
            <pc:docMk/>
            <pc:sldMk cId="126589436" sldId="622"/>
            <ac:spMk id="4" creationId="{0FB30213-21C6-4697-8AA0-47DE2D2FEF54}"/>
          </ac:spMkLst>
        </pc:spChg>
        <pc:spChg chg="add del">
          <ac:chgData name="Gerben ter Riet" userId="3ac6bf19-0280-481e-9025-ee7d4fbb1be3" providerId="ADAL" clId="{CD56C0F2-14DB-4C31-977E-939312C6544A}" dt="2024-06-17T18:59:15.666" v="74" actId="700"/>
          <ac:spMkLst>
            <pc:docMk/>
            <pc:sldMk cId="126589436" sldId="622"/>
            <ac:spMk id="8" creationId="{F3060C83-F051-4F0E-ABAD-AA0DFC48B218}"/>
          </ac:spMkLst>
        </pc:spChg>
        <pc:spChg chg="add del">
          <ac:chgData name="Gerben ter Riet" userId="3ac6bf19-0280-481e-9025-ee7d4fbb1be3" providerId="ADAL" clId="{CD56C0F2-14DB-4C31-977E-939312C6544A}" dt="2024-06-17T18:59:15.666" v="74" actId="700"/>
          <ac:spMkLst>
            <pc:docMk/>
            <pc:sldMk cId="126589436" sldId="622"/>
            <ac:spMk id="10" creationId="{83C98ABE-055B-441F-B07E-44F97F083C39}"/>
          </ac:spMkLst>
        </pc:spChg>
        <pc:spChg chg="add">
          <ac:chgData name="Gerben ter Riet" userId="3ac6bf19-0280-481e-9025-ee7d4fbb1be3" providerId="ADAL" clId="{CD56C0F2-14DB-4C31-977E-939312C6544A}" dt="2024-06-17T19:00:03.276" v="106" actId="26606"/>
          <ac:spMkLst>
            <pc:docMk/>
            <pc:sldMk cId="126589436" sldId="622"/>
            <ac:spMk id="11" creationId="{022BDE4A-8A20-4A69-9C5A-581C82036A4D}"/>
          </ac:spMkLst>
        </pc:spChg>
        <pc:spChg chg="add del">
          <ac:chgData name="Gerben ter Riet" userId="3ac6bf19-0280-481e-9025-ee7d4fbb1be3" providerId="ADAL" clId="{CD56C0F2-14DB-4C31-977E-939312C6544A}" dt="2024-06-17T18:59:15.666" v="74" actId="700"/>
          <ac:spMkLst>
            <pc:docMk/>
            <pc:sldMk cId="126589436" sldId="622"/>
            <ac:spMk id="12" creationId="{29FDB030-9B49-4CED-8CCD-4D99382388AC}"/>
          </ac:spMkLst>
        </pc:spChg>
        <pc:spChg chg="add del">
          <ac:chgData name="Gerben ter Riet" userId="3ac6bf19-0280-481e-9025-ee7d4fbb1be3" providerId="ADAL" clId="{CD56C0F2-14DB-4C31-977E-939312C6544A}" dt="2024-06-17T18:59:15.666" v="74" actId="700"/>
          <ac:spMkLst>
            <pc:docMk/>
            <pc:sldMk cId="126589436" sldId="622"/>
            <ac:spMk id="14" creationId="{3783CA14-24A1-485C-8B30-D6A5D87987AD}"/>
          </ac:spMkLst>
        </pc:spChg>
        <pc:spChg chg="add del">
          <ac:chgData name="Gerben ter Riet" userId="3ac6bf19-0280-481e-9025-ee7d4fbb1be3" providerId="ADAL" clId="{CD56C0F2-14DB-4C31-977E-939312C6544A}" dt="2024-06-17T18:59:15.666" v="74" actId="700"/>
          <ac:spMkLst>
            <pc:docMk/>
            <pc:sldMk cId="126589436" sldId="622"/>
            <ac:spMk id="16" creationId="{9A97C86A-04D6-40F7-AE84-31AB43E6A846}"/>
          </ac:spMkLst>
        </pc:spChg>
        <pc:spChg chg="add del">
          <ac:chgData name="Gerben ter Riet" userId="3ac6bf19-0280-481e-9025-ee7d4fbb1be3" providerId="ADAL" clId="{CD56C0F2-14DB-4C31-977E-939312C6544A}" dt="2024-06-17T18:59:15.666" v="74" actId="700"/>
          <ac:spMkLst>
            <pc:docMk/>
            <pc:sldMk cId="126589436" sldId="622"/>
            <ac:spMk id="18" creationId="{FF9F2414-84E8-453E-B1F3-389FDE8192D9}"/>
          </ac:spMkLst>
        </pc:spChg>
        <pc:spChg chg="add del">
          <ac:chgData name="Gerben ter Riet" userId="3ac6bf19-0280-481e-9025-ee7d4fbb1be3" providerId="ADAL" clId="{CD56C0F2-14DB-4C31-977E-939312C6544A}" dt="2024-06-17T18:59:15.666" v="74" actId="700"/>
          <ac:spMkLst>
            <pc:docMk/>
            <pc:sldMk cId="126589436" sldId="622"/>
            <ac:spMk id="20" creationId="{3ECA69A1-7536-43AC-85EF-C7106179F5ED}"/>
          </ac:spMkLst>
        </pc:spChg>
        <pc:picChg chg="add mod ord">
          <ac:chgData name="Gerben ter Riet" userId="3ac6bf19-0280-481e-9025-ee7d4fbb1be3" providerId="ADAL" clId="{CD56C0F2-14DB-4C31-977E-939312C6544A}" dt="2024-06-17T19:00:03.276" v="106" actId="26606"/>
          <ac:picMkLst>
            <pc:docMk/>
            <pc:sldMk cId="126589436" sldId="622"/>
            <ac:picMk id="3" creationId="{36839A6E-9678-E5BE-B10F-A4A6867F048E}"/>
          </ac:picMkLst>
        </pc:picChg>
        <pc:picChg chg="add mod">
          <ac:chgData name="Gerben ter Riet" userId="3ac6bf19-0280-481e-9025-ee7d4fbb1be3" providerId="ADAL" clId="{CD56C0F2-14DB-4C31-977E-939312C6544A}" dt="2024-06-17T19:00:03.276" v="106" actId="26606"/>
          <ac:picMkLst>
            <pc:docMk/>
            <pc:sldMk cId="126589436" sldId="622"/>
            <ac:picMk id="6" creationId="{A409AA0C-812D-83DC-A8E9-653373EE9477}"/>
          </ac:picMkLst>
        </pc:picChg>
      </pc:sldChg>
      <pc:sldChg chg="addSp delSp modSp add mod setBg setClrOvrMap">
        <pc:chgData name="Gerben ter Riet" userId="3ac6bf19-0280-481e-9025-ee7d4fbb1be3" providerId="ADAL" clId="{CD56C0F2-14DB-4C31-977E-939312C6544A}" dt="2024-06-18T12:22:00.365" v="852"/>
        <pc:sldMkLst>
          <pc:docMk/>
          <pc:sldMk cId="1749880910" sldId="1390"/>
        </pc:sldMkLst>
        <pc:spChg chg="mod">
          <ac:chgData name="Gerben ter Riet" userId="3ac6bf19-0280-481e-9025-ee7d4fbb1be3" providerId="ADAL" clId="{CD56C0F2-14DB-4C31-977E-939312C6544A}" dt="2024-06-17T18:58:41.192" v="73" actId="26606"/>
          <ac:spMkLst>
            <pc:docMk/>
            <pc:sldMk cId="1749880910" sldId="1390"/>
            <ac:spMk id="2" creationId="{921C4A5F-CD33-3EF6-8393-0308EB6D59CB}"/>
          </ac:spMkLst>
        </pc:spChg>
        <pc:spChg chg="add mod">
          <ac:chgData name="Gerben ter Riet" userId="3ac6bf19-0280-481e-9025-ee7d4fbb1be3" providerId="ADAL" clId="{CD56C0F2-14DB-4C31-977E-939312C6544A}" dt="2024-06-18T12:22:00.365" v="852"/>
          <ac:spMkLst>
            <pc:docMk/>
            <pc:sldMk cId="1749880910" sldId="1390"/>
            <ac:spMk id="3" creationId="{6CF19368-443D-2AFD-6BC5-61D4642F74B6}"/>
          </ac:spMkLst>
        </pc:spChg>
        <pc:spChg chg="mod ord">
          <ac:chgData name="Gerben ter Riet" userId="3ac6bf19-0280-481e-9025-ee7d4fbb1be3" providerId="ADAL" clId="{CD56C0F2-14DB-4C31-977E-939312C6544A}" dt="2024-06-17T21:06:45.998" v="240" actId="20577"/>
          <ac:spMkLst>
            <pc:docMk/>
            <pc:sldMk cId="1749880910" sldId="1390"/>
            <ac:spMk id="4" creationId="{7A50A038-AC85-9105-D7CE-06052061B084}"/>
          </ac:spMkLst>
        </pc:spChg>
        <pc:spChg chg="add del">
          <ac:chgData name="Gerben ter Riet" userId="3ac6bf19-0280-481e-9025-ee7d4fbb1be3" providerId="ADAL" clId="{CD56C0F2-14DB-4C31-977E-939312C6544A}" dt="2024-06-17T18:58:41.192" v="73" actId="26606"/>
          <ac:spMkLst>
            <pc:docMk/>
            <pc:sldMk cId="1749880910" sldId="1390"/>
            <ac:spMk id="9" creationId="{907EF6B7-1338-4443-8C46-6A318D952DFD}"/>
          </ac:spMkLst>
        </pc:spChg>
        <pc:spChg chg="add del">
          <ac:chgData name="Gerben ter Riet" userId="3ac6bf19-0280-481e-9025-ee7d4fbb1be3" providerId="ADAL" clId="{CD56C0F2-14DB-4C31-977E-939312C6544A}" dt="2024-06-17T18:56:54.129" v="62" actId="26606"/>
          <ac:spMkLst>
            <pc:docMk/>
            <pc:sldMk cId="1749880910" sldId="1390"/>
            <ac:spMk id="10" creationId="{71B2258F-86CA-4D4D-8270-BC05FCDEBFB3}"/>
          </ac:spMkLst>
        </pc:spChg>
        <pc:spChg chg="add del">
          <ac:chgData name="Gerben ter Riet" userId="3ac6bf19-0280-481e-9025-ee7d4fbb1be3" providerId="ADAL" clId="{CD56C0F2-14DB-4C31-977E-939312C6544A}" dt="2024-06-17T18:58:41.192" v="73" actId="26606"/>
          <ac:spMkLst>
            <pc:docMk/>
            <pc:sldMk cId="1749880910" sldId="1390"/>
            <ac:spMk id="11" creationId="{DAAE4CDD-124C-4DCF-9584-B6033B545DD5}"/>
          </ac:spMkLst>
        </pc:spChg>
        <pc:spChg chg="add del">
          <ac:chgData name="Gerben ter Riet" userId="3ac6bf19-0280-481e-9025-ee7d4fbb1be3" providerId="ADAL" clId="{CD56C0F2-14DB-4C31-977E-939312C6544A}" dt="2024-06-17T18:56:56.719" v="64" actId="26606"/>
          <ac:spMkLst>
            <pc:docMk/>
            <pc:sldMk cId="1749880910" sldId="1390"/>
            <ac:spMk id="12" creationId="{007891EC-4501-44ED-A8C8-B11B6DB767AB}"/>
          </ac:spMkLst>
        </pc:spChg>
        <pc:spChg chg="add del">
          <ac:chgData name="Gerben ter Riet" userId="3ac6bf19-0280-481e-9025-ee7d4fbb1be3" providerId="ADAL" clId="{CD56C0F2-14DB-4C31-977E-939312C6544A}" dt="2024-06-17T18:56:56.719" v="64" actId="26606"/>
          <ac:spMkLst>
            <pc:docMk/>
            <pc:sldMk cId="1749880910" sldId="1390"/>
            <ac:spMk id="13" creationId="{C1DD1A8A-57D5-4A81-AD04-532B043C5611}"/>
          </ac:spMkLst>
        </pc:spChg>
        <pc:spChg chg="add del">
          <ac:chgData name="Gerben ter Riet" userId="3ac6bf19-0280-481e-9025-ee7d4fbb1be3" providerId="ADAL" clId="{CD56C0F2-14DB-4C31-977E-939312C6544A}" dt="2024-06-17T18:57:00.580" v="66" actId="26606"/>
          <ac:spMkLst>
            <pc:docMk/>
            <pc:sldMk cId="1749880910" sldId="1390"/>
            <ac:spMk id="16" creationId="{798FE0E0-D95D-46EF-A375-475D4DB0ED45}"/>
          </ac:spMkLst>
        </pc:spChg>
        <pc:spChg chg="add del">
          <ac:chgData name="Gerben ter Riet" userId="3ac6bf19-0280-481e-9025-ee7d4fbb1be3" providerId="ADAL" clId="{CD56C0F2-14DB-4C31-977E-939312C6544A}" dt="2024-06-17T18:57:00.580" v="66" actId="26606"/>
          <ac:spMkLst>
            <pc:docMk/>
            <pc:sldMk cId="1749880910" sldId="1390"/>
            <ac:spMk id="17" creationId="{2D82A42F-AEBE-4065-9792-036A904D8564}"/>
          </ac:spMkLst>
        </pc:spChg>
        <pc:spChg chg="add del">
          <ac:chgData name="Gerben ter Riet" userId="3ac6bf19-0280-481e-9025-ee7d4fbb1be3" providerId="ADAL" clId="{CD56C0F2-14DB-4C31-977E-939312C6544A}" dt="2024-06-17T18:58:41.192" v="73" actId="26606"/>
          <ac:spMkLst>
            <pc:docMk/>
            <pc:sldMk cId="1749880910" sldId="1390"/>
            <ac:spMk id="20" creationId="{081E4A58-353D-44AE-B2FC-2A74E2E400F7}"/>
          </ac:spMkLst>
        </pc:spChg>
        <pc:spChg chg="add">
          <ac:chgData name="Gerben ter Riet" userId="3ac6bf19-0280-481e-9025-ee7d4fbb1be3" providerId="ADAL" clId="{CD56C0F2-14DB-4C31-977E-939312C6544A}" dt="2024-06-17T18:58:41.192" v="73" actId="26606"/>
          <ac:spMkLst>
            <pc:docMk/>
            <pc:sldMk cId="1749880910" sldId="1390"/>
            <ac:spMk id="22" creationId="{362D44EE-C852-4460-B8B5-C4F2BC20510C}"/>
          </ac:spMkLst>
        </pc:spChg>
        <pc:spChg chg="add">
          <ac:chgData name="Gerben ter Riet" userId="3ac6bf19-0280-481e-9025-ee7d4fbb1be3" providerId="ADAL" clId="{CD56C0F2-14DB-4C31-977E-939312C6544A}" dt="2024-06-17T18:58:41.192" v="73" actId="26606"/>
          <ac:spMkLst>
            <pc:docMk/>
            <pc:sldMk cId="1749880910" sldId="1390"/>
            <ac:spMk id="23" creationId="{658970D8-8D1D-4B5C-894B-E871CC86543D}"/>
          </ac:spMkLst>
        </pc:spChg>
        <pc:spChg chg="add">
          <ac:chgData name="Gerben ter Riet" userId="3ac6bf19-0280-481e-9025-ee7d4fbb1be3" providerId="ADAL" clId="{CD56C0F2-14DB-4C31-977E-939312C6544A}" dt="2024-06-17T18:58:41.192" v="73" actId="26606"/>
          <ac:spMkLst>
            <pc:docMk/>
            <pc:sldMk cId="1749880910" sldId="1390"/>
            <ac:spMk id="24" creationId="{F227E5B6-9132-43CA-B503-37A18562ADF2}"/>
          </ac:spMkLst>
        </pc:spChg>
        <pc:spChg chg="add del">
          <ac:chgData name="Gerben ter Riet" userId="3ac6bf19-0280-481e-9025-ee7d4fbb1be3" providerId="ADAL" clId="{CD56C0F2-14DB-4C31-977E-939312C6544A}" dt="2024-06-17T18:58:36.802" v="70" actId="26606"/>
          <ac:spMkLst>
            <pc:docMk/>
            <pc:sldMk cId="1749880910" sldId="1390"/>
            <ac:spMk id="25" creationId="{2B577FF9-3543-4875-815D-3D87BD8A2002}"/>
          </ac:spMkLst>
        </pc:spChg>
        <pc:spChg chg="add">
          <ac:chgData name="Gerben ter Riet" userId="3ac6bf19-0280-481e-9025-ee7d4fbb1be3" providerId="ADAL" clId="{CD56C0F2-14DB-4C31-977E-939312C6544A}" dt="2024-06-17T18:58:41.192" v="73" actId="26606"/>
          <ac:spMkLst>
            <pc:docMk/>
            <pc:sldMk cId="1749880910" sldId="1390"/>
            <ac:spMk id="26" creationId="{03C2051E-A88D-48E5-BACF-AAED17892722}"/>
          </ac:spMkLst>
        </pc:spChg>
        <pc:spChg chg="add del">
          <ac:chgData name="Gerben ter Riet" userId="3ac6bf19-0280-481e-9025-ee7d4fbb1be3" providerId="ADAL" clId="{CD56C0F2-14DB-4C31-977E-939312C6544A}" dt="2024-06-17T18:58:36.802" v="70" actId="26606"/>
          <ac:spMkLst>
            <pc:docMk/>
            <pc:sldMk cId="1749880910" sldId="1390"/>
            <ac:spMk id="27" creationId="{F5569EEC-E12F-4856-B407-02B2813A4AA5}"/>
          </ac:spMkLst>
        </pc:spChg>
        <pc:spChg chg="add">
          <ac:chgData name="Gerben ter Riet" userId="3ac6bf19-0280-481e-9025-ee7d4fbb1be3" providerId="ADAL" clId="{CD56C0F2-14DB-4C31-977E-939312C6544A}" dt="2024-06-17T18:58:41.192" v="73" actId="26606"/>
          <ac:spMkLst>
            <pc:docMk/>
            <pc:sldMk cId="1749880910" sldId="1390"/>
            <ac:spMk id="28" creationId="{7821A508-2985-4905-874A-527429BAABFA}"/>
          </ac:spMkLst>
        </pc:spChg>
        <pc:spChg chg="add del">
          <ac:chgData name="Gerben ter Riet" userId="3ac6bf19-0280-481e-9025-ee7d4fbb1be3" providerId="ADAL" clId="{CD56C0F2-14DB-4C31-977E-939312C6544A}" dt="2024-06-17T18:58:36.802" v="70" actId="26606"/>
          <ac:spMkLst>
            <pc:docMk/>
            <pc:sldMk cId="1749880910" sldId="1390"/>
            <ac:spMk id="29" creationId="{CF860788-3A6A-45A3-B3F1-06F159665603}"/>
          </ac:spMkLst>
        </pc:spChg>
        <pc:spChg chg="add">
          <ac:chgData name="Gerben ter Riet" userId="3ac6bf19-0280-481e-9025-ee7d4fbb1be3" providerId="ADAL" clId="{CD56C0F2-14DB-4C31-977E-939312C6544A}" dt="2024-06-17T18:58:41.192" v="73" actId="26606"/>
          <ac:spMkLst>
            <pc:docMk/>
            <pc:sldMk cId="1749880910" sldId="1390"/>
            <ac:spMk id="30" creationId="{D2929CB1-0E3C-4B2D-ADC5-0154FB33BA44}"/>
          </ac:spMkLst>
        </pc:spChg>
        <pc:spChg chg="add del">
          <ac:chgData name="Gerben ter Riet" userId="3ac6bf19-0280-481e-9025-ee7d4fbb1be3" providerId="ADAL" clId="{CD56C0F2-14DB-4C31-977E-939312C6544A}" dt="2024-06-17T18:58:36.802" v="70" actId="26606"/>
          <ac:spMkLst>
            <pc:docMk/>
            <pc:sldMk cId="1749880910" sldId="1390"/>
            <ac:spMk id="31" creationId="{DF1E3393-B852-4883-B778-ED3525112942}"/>
          </ac:spMkLst>
        </pc:spChg>
        <pc:spChg chg="add">
          <ac:chgData name="Gerben ter Riet" userId="3ac6bf19-0280-481e-9025-ee7d4fbb1be3" providerId="ADAL" clId="{CD56C0F2-14DB-4C31-977E-939312C6544A}" dt="2024-06-17T18:58:41.192" v="73" actId="26606"/>
          <ac:spMkLst>
            <pc:docMk/>
            <pc:sldMk cId="1749880910" sldId="1390"/>
            <ac:spMk id="32" creationId="{5F2F0C84-BE8C-4DC2-A6D3-30349A801D5C}"/>
          </ac:spMkLst>
        </pc:spChg>
        <pc:spChg chg="add del">
          <ac:chgData name="Gerben ter Riet" userId="3ac6bf19-0280-481e-9025-ee7d4fbb1be3" providerId="ADAL" clId="{CD56C0F2-14DB-4C31-977E-939312C6544A}" dt="2024-06-17T18:58:36.802" v="70" actId="26606"/>
          <ac:spMkLst>
            <pc:docMk/>
            <pc:sldMk cId="1749880910" sldId="1390"/>
            <ac:spMk id="33" creationId="{39853D09-4205-4CC7-83EB-288E886AC9E4}"/>
          </ac:spMkLst>
        </pc:spChg>
        <pc:spChg chg="add del">
          <ac:chgData name="Gerben ter Riet" userId="3ac6bf19-0280-481e-9025-ee7d4fbb1be3" providerId="ADAL" clId="{CD56C0F2-14DB-4C31-977E-939312C6544A}" dt="2024-06-17T18:58:36.802" v="70" actId="26606"/>
          <ac:spMkLst>
            <pc:docMk/>
            <pc:sldMk cId="1749880910" sldId="1390"/>
            <ac:spMk id="35" creationId="{0D040B79-3E73-4A31-840D-D6B9C9FDFC46}"/>
          </ac:spMkLst>
        </pc:spChg>
        <pc:spChg chg="add del">
          <ac:chgData name="Gerben ter Riet" userId="3ac6bf19-0280-481e-9025-ee7d4fbb1be3" providerId="ADAL" clId="{CD56C0F2-14DB-4C31-977E-939312C6544A}" dt="2024-06-17T18:58:36.802" v="70" actId="26606"/>
          <ac:spMkLst>
            <pc:docMk/>
            <pc:sldMk cId="1749880910" sldId="1390"/>
            <ac:spMk id="37" creationId="{156C6AE5-3F8B-42AC-9EA4-1B686A11E93F}"/>
          </ac:spMkLst>
        </pc:spChg>
        <pc:picChg chg="add mod">
          <ac:chgData name="Gerben ter Riet" userId="3ac6bf19-0280-481e-9025-ee7d4fbb1be3" providerId="ADAL" clId="{CD56C0F2-14DB-4C31-977E-939312C6544A}" dt="2024-06-17T18:58:41.192" v="73" actId="26606"/>
          <ac:picMkLst>
            <pc:docMk/>
            <pc:sldMk cId="1749880910" sldId="1390"/>
            <ac:picMk id="5" creationId="{B6759AD8-65E7-0E42-E190-A1BE0EBC3C68}"/>
          </ac:picMkLst>
        </pc:picChg>
        <pc:picChg chg="add del">
          <ac:chgData name="Gerben ter Riet" userId="3ac6bf19-0280-481e-9025-ee7d4fbb1be3" providerId="ADAL" clId="{CD56C0F2-14DB-4C31-977E-939312C6544A}" dt="2024-06-17T18:56:54.129" v="62" actId="26606"/>
          <ac:picMkLst>
            <pc:docMk/>
            <pc:sldMk cId="1749880910" sldId="1390"/>
            <ac:picMk id="6" creationId="{4367EA9B-47BA-D50C-1139-A4B5EBDBC3EF}"/>
          </ac:picMkLst>
        </pc:picChg>
        <pc:picChg chg="add del">
          <ac:chgData name="Gerben ter Riet" userId="3ac6bf19-0280-481e-9025-ee7d4fbb1be3" providerId="ADAL" clId="{CD56C0F2-14DB-4C31-977E-939312C6544A}" dt="2024-06-17T18:56:56.719" v="64" actId="26606"/>
          <ac:picMkLst>
            <pc:docMk/>
            <pc:sldMk cId="1749880910" sldId="1390"/>
            <ac:picMk id="14" creationId="{6BFC1B3F-4518-D169-FA09-6A1CEDF433CF}"/>
          </ac:picMkLst>
        </pc:picChg>
        <pc:picChg chg="add del">
          <ac:chgData name="Gerben ter Riet" userId="3ac6bf19-0280-481e-9025-ee7d4fbb1be3" providerId="ADAL" clId="{CD56C0F2-14DB-4C31-977E-939312C6544A}" dt="2024-06-17T18:57:00.580" v="66" actId="26606"/>
          <ac:picMkLst>
            <pc:docMk/>
            <pc:sldMk cId="1749880910" sldId="1390"/>
            <ac:picMk id="18" creationId="{EB006E46-4072-9FF3-A93B-E70992045D18}"/>
          </ac:picMkLst>
        </pc:picChg>
      </pc:sldChg>
      <pc:sldChg chg="addSp delSp modSp new mod setBg modNotesTx">
        <pc:chgData name="Gerben ter Riet" userId="3ac6bf19-0280-481e-9025-ee7d4fbb1be3" providerId="ADAL" clId="{CD56C0F2-14DB-4C31-977E-939312C6544A}" dt="2024-06-18T12:11:08.291" v="613" actId="20577"/>
        <pc:sldMkLst>
          <pc:docMk/>
          <pc:sldMk cId="1124695466" sldId="1391"/>
        </pc:sldMkLst>
        <pc:spChg chg="mod">
          <ac:chgData name="Gerben ter Riet" userId="3ac6bf19-0280-481e-9025-ee7d4fbb1be3" providerId="ADAL" clId="{CD56C0F2-14DB-4C31-977E-939312C6544A}" dt="2024-06-17T22:17:52.144" v="271" actId="26606"/>
          <ac:spMkLst>
            <pc:docMk/>
            <pc:sldMk cId="1124695466" sldId="1391"/>
            <ac:spMk id="2" creationId="{5628E642-DD69-B261-0532-301A03E3FF92}"/>
          </ac:spMkLst>
        </pc:spChg>
        <pc:spChg chg="del mod">
          <ac:chgData name="Gerben ter Riet" userId="3ac6bf19-0280-481e-9025-ee7d4fbb1be3" providerId="ADAL" clId="{CD56C0F2-14DB-4C31-977E-939312C6544A}" dt="2024-06-17T22:17:42.945" v="270" actId="22"/>
          <ac:spMkLst>
            <pc:docMk/>
            <pc:sldMk cId="1124695466" sldId="1391"/>
            <ac:spMk id="3" creationId="{DCB02553-7E6B-2D68-BB09-45D9CB803D17}"/>
          </ac:spMkLst>
        </pc:spChg>
        <pc:spChg chg="add del">
          <ac:chgData name="Gerben ter Riet" userId="3ac6bf19-0280-481e-9025-ee7d4fbb1be3" providerId="ADAL" clId="{CD56C0F2-14DB-4C31-977E-939312C6544A}" dt="2024-06-17T22:17:52.144" v="271" actId="26606"/>
          <ac:spMkLst>
            <pc:docMk/>
            <pc:sldMk cId="1124695466" sldId="1391"/>
            <ac:spMk id="12" creationId="{69D47016-023F-44BD-981C-50E7A10A6609}"/>
          </ac:spMkLst>
        </pc:spChg>
        <pc:spChg chg="add del">
          <ac:chgData name="Gerben ter Riet" userId="3ac6bf19-0280-481e-9025-ee7d4fbb1be3" providerId="ADAL" clId="{CD56C0F2-14DB-4C31-977E-939312C6544A}" dt="2024-06-17T22:17:52.144" v="271" actId="26606"/>
          <ac:spMkLst>
            <pc:docMk/>
            <pc:sldMk cId="1124695466" sldId="1391"/>
            <ac:spMk id="14" creationId="{6D8B37B0-0682-433E-BC8D-498C04ABD9A7}"/>
          </ac:spMkLst>
        </pc:spChg>
        <pc:spChg chg="add">
          <ac:chgData name="Gerben ter Riet" userId="3ac6bf19-0280-481e-9025-ee7d4fbb1be3" providerId="ADAL" clId="{CD56C0F2-14DB-4C31-977E-939312C6544A}" dt="2024-06-17T22:17:52.144" v="271" actId="26606"/>
          <ac:spMkLst>
            <pc:docMk/>
            <pc:sldMk cId="1124695466" sldId="1391"/>
            <ac:spMk id="19" creationId="{0855A890-B60B-4670-9DC2-69DC05015AB3}"/>
          </ac:spMkLst>
        </pc:spChg>
        <pc:spChg chg="add">
          <ac:chgData name="Gerben ter Riet" userId="3ac6bf19-0280-481e-9025-ee7d4fbb1be3" providerId="ADAL" clId="{CD56C0F2-14DB-4C31-977E-939312C6544A}" dt="2024-06-17T22:17:52.144" v="271" actId="26606"/>
          <ac:spMkLst>
            <pc:docMk/>
            <pc:sldMk cId="1124695466" sldId="1391"/>
            <ac:spMk id="21" creationId="{90F533E9-6690-41A8-A372-4C6C622D028D}"/>
          </ac:spMkLst>
        </pc:spChg>
        <pc:spChg chg="add">
          <ac:chgData name="Gerben ter Riet" userId="3ac6bf19-0280-481e-9025-ee7d4fbb1be3" providerId="ADAL" clId="{CD56C0F2-14DB-4C31-977E-939312C6544A}" dt="2024-06-17T22:17:52.144" v="271" actId="26606"/>
          <ac:spMkLst>
            <pc:docMk/>
            <pc:sldMk cId="1124695466" sldId="1391"/>
            <ac:spMk id="23" creationId="{99413ED5-9ED4-4772-BCE4-2BCAE6B12E35}"/>
          </ac:spMkLst>
        </pc:spChg>
        <pc:spChg chg="add">
          <ac:chgData name="Gerben ter Riet" userId="3ac6bf19-0280-481e-9025-ee7d4fbb1be3" providerId="ADAL" clId="{CD56C0F2-14DB-4C31-977E-939312C6544A}" dt="2024-06-17T22:17:52.144" v="271" actId="26606"/>
          <ac:spMkLst>
            <pc:docMk/>
            <pc:sldMk cId="1124695466" sldId="1391"/>
            <ac:spMk id="25" creationId="{04357C93-F0CB-4A1C-8F77-4E9063789819}"/>
          </ac:spMkLst>
        </pc:spChg>
        <pc:picChg chg="add mod ord">
          <ac:chgData name="Gerben ter Riet" userId="3ac6bf19-0280-481e-9025-ee7d4fbb1be3" providerId="ADAL" clId="{CD56C0F2-14DB-4C31-977E-939312C6544A}" dt="2024-06-17T22:17:52.144" v="271" actId="26606"/>
          <ac:picMkLst>
            <pc:docMk/>
            <pc:sldMk cId="1124695466" sldId="1391"/>
            <ac:picMk id="5" creationId="{294DA0A8-3ADA-8386-30B0-5B921A7B9EC0}"/>
          </ac:picMkLst>
        </pc:picChg>
        <pc:picChg chg="add mod">
          <ac:chgData name="Gerben ter Riet" userId="3ac6bf19-0280-481e-9025-ee7d4fbb1be3" providerId="ADAL" clId="{CD56C0F2-14DB-4C31-977E-939312C6544A}" dt="2024-06-17T22:17:52.144" v="271" actId="26606"/>
          <ac:picMkLst>
            <pc:docMk/>
            <pc:sldMk cId="1124695466" sldId="1391"/>
            <ac:picMk id="7" creationId="{501DA359-A6E4-C7B9-FDB8-DE60F54577AE}"/>
          </ac:picMkLst>
        </pc:picChg>
        <pc:picChg chg="add mod">
          <ac:chgData name="Gerben ter Riet" userId="3ac6bf19-0280-481e-9025-ee7d4fbb1be3" providerId="ADAL" clId="{CD56C0F2-14DB-4C31-977E-939312C6544A}" dt="2024-06-17T22:17:52.144" v="271" actId="26606"/>
          <ac:picMkLst>
            <pc:docMk/>
            <pc:sldMk cId="1124695466" sldId="1391"/>
            <ac:picMk id="9" creationId="{6646BF1C-AD65-8336-7BD0-5F8521242EEF}"/>
          </ac:picMkLst>
        </pc:picChg>
        <pc:picChg chg="add mod ord">
          <ac:chgData name="Gerben ter Riet" userId="3ac6bf19-0280-481e-9025-ee7d4fbb1be3" providerId="ADAL" clId="{CD56C0F2-14DB-4C31-977E-939312C6544A}" dt="2024-06-17T22:17:52.144" v="271" actId="26606"/>
          <ac:picMkLst>
            <pc:docMk/>
            <pc:sldMk cId="1124695466" sldId="1391"/>
            <ac:picMk id="11" creationId="{D8724E34-3272-59E4-E76E-5CD5EA4C6592}"/>
          </ac:picMkLst>
        </pc:picChg>
        <pc:picChg chg="add mod">
          <ac:chgData name="Gerben ter Riet" userId="3ac6bf19-0280-481e-9025-ee7d4fbb1be3" providerId="ADAL" clId="{CD56C0F2-14DB-4C31-977E-939312C6544A}" dt="2024-06-17T22:18:24.035" v="273" actId="1076"/>
          <ac:picMkLst>
            <pc:docMk/>
            <pc:sldMk cId="1124695466" sldId="1391"/>
            <ac:picMk id="15" creationId="{088B11D3-3F93-33C6-D525-8A9447B4AE3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C05DF0-D568-46AA-8171-CBE7695F8AD0}" type="datetimeFigureOut">
              <a:rPr lang="nl-NL" smtClean="0"/>
              <a:t>18-6-2024</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D62A92-BFCA-4113-A42D-D097953A7EE8}" type="slidenum">
              <a:rPr lang="nl-NL" smtClean="0"/>
              <a:t>‹#›</a:t>
            </a:fld>
            <a:endParaRPr lang="nl-NL"/>
          </a:p>
        </p:txBody>
      </p:sp>
    </p:spTree>
    <p:extLst>
      <p:ext uri="{BB962C8B-B14F-4D97-AF65-F5344CB8AC3E}">
        <p14:creationId xmlns:p14="http://schemas.microsoft.com/office/powerpoint/2010/main" val="38869123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nature.com/articles/d41586-024-01697-y?utm_source=Live+Audience&amp;utm_campaign=63abcf1777-nature-briefing-weekly-20240614&amp;utm_medium=email&amp;utm_term=0_b27a691814-63abcf1777-51298636"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nature.com/articles/d41586-019-03759-y"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pubpeer.com/" TargetMode="External"/><Relationship Id="rId5" Type="http://schemas.openxmlformats.org/officeDocument/2006/relationships/hyperlink" Target="https://www.stm-assoc.org/stm-integrity-hub/" TargetMode="External"/><Relationship Id="rId4" Type="http://schemas.openxmlformats.org/officeDocument/2006/relationships/hyperlink" Target="https://scholarlykitchen.sspnet.org/2024/04/18/guest-post-making-sense-of-retractions-and-tackling-research-misconduct/"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ase.org.uk/communities/peer-review-committee/peer-review-toolkit/What-is-peer-revie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Long </a:t>
            </a:r>
            <a:r>
              <a:rPr lang="nl-NL" dirty="0" err="1"/>
              <a:t>version</a:t>
            </a:r>
            <a:r>
              <a:rPr lang="nl-NL" dirty="0"/>
              <a:t> </a:t>
            </a:r>
            <a:r>
              <a:rPr lang="nl-NL" dirty="0" err="1"/>
              <a:t>by</a:t>
            </a:r>
            <a:r>
              <a:rPr lang="nl-NL" dirty="0"/>
              <a:t> Lex Bouter: https://www.youtube.com/watch?v=64UTTIJr6w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607C95-9746-48A1-8CC6-DD40364DCC45}"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22506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www.ncbi.nlm.nih.gov/pmc/articles/PMC10666927/pdf/elife-89736.pdf</a:t>
            </a:r>
          </a:p>
          <a:p>
            <a:r>
              <a:rPr lang="nl-NL" dirty="0"/>
              <a:t>https://www.nature.com/articles/d41586-020-02847-8</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FE0699-321B-453B-B86F-BA5A31AA041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4820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thinkchecksubmit.org/</a:t>
            </a:r>
          </a:p>
          <a:p>
            <a:pPr algn="l"/>
            <a:r>
              <a:rPr lang="nl-NL" sz="1800" b="0" i="0" u="none" strike="noStrike" baseline="0" dirty="0">
                <a:latin typeface="HardingText-Regular"/>
              </a:rPr>
              <a:t>TERMS: ‘</a:t>
            </a:r>
            <a:r>
              <a:rPr lang="nl-NL" sz="1800" b="0" i="0" u="none" strike="noStrike" baseline="0" dirty="0" err="1">
                <a:latin typeface="HardingText-Regular"/>
              </a:rPr>
              <a:t>dark</a:t>
            </a:r>
            <a:r>
              <a:rPr lang="nl-NL" sz="1800" b="0" i="0" u="none" strike="noStrike" baseline="0" dirty="0">
                <a:latin typeface="HardingText-Regular"/>
              </a:rPr>
              <a:t>’, ‘</a:t>
            </a:r>
            <a:r>
              <a:rPr lang="nl-NL" sz="1800" b="0" i="0" u="none" strike="noStrike" baseline="0" dirty="0" err="1">
                <a:latin typeface="HardingText-Regular"/>
              </a:rPr>
              <a:t>deceptive</a:t>
            </a:r>
            <a:r>
              <a:rPr lang="nl-NL" sz="1800" b="0" i="0" u="none" strike="noStrike" baseline="0" dirty="0">
                <a:latin typeface="HardingText-Regular"/>
              </a:rPr>
              <a:t>’, </a:t>
            </a:r>
            <a:r>
              <a:rPr lang="en-US" sz="1800" b="0" i="0" u="none" strike="noStrike" baseline="0" dirty="0">
                <a:latin typeface="HardingText-Regular"/>
              </a:rPr>
              <a:t>‘illegitimate’ and ‘acting in bad faith’.</a:t>
            </a:r>
          </a:p>
          <a:p>
            <a:pPr algn="l"/>
            <a:r>
              <a:rPr lang="en-US" sz="1800" b="0" i="0" u="none" strike="noStrike" baseline="0" dirty="0">
                <a:latin typeface="HardingText-Semibold"/>
              </a:rPr>
              <a:t>False or misleading information. </a:t>
            </a:r>
            <a:r>
              <a:rPr lang="en-US" sz="1800" b="0" i="0" u="none" strike="noStrike" baseline="0" dirty="0">
                <a:latin typeface="HardingText-Regular"/>
              </a:rPr>
              <a:t>This applies to how the publisher presents itself. A predatory journal’s website or e-mails often present contradictory statements, fake impact factors,</a:t>
            </a:r>
          </a:p>
          <a:p>
            <a:pPr algn="l"/>
            <a:r>
              <a:rPr lang="nl-NL" sz="1800" b="0" i="0" u="none" strike="noStrike" baseline="0" dirty="0">
                <a:latin typeface="HardingText-Regular"/>
              </a:rPr>
              <a:t>incorrect </a:t>
            </a:r>
            <a:r>
              <a:rPr lang="nl-NL" sz="1800" b="0" i="0" u="none" strike="noStrike" baseline="0" dirty="0" err="1">
                <a:latin typeface="HardingText-Regular"/>
              </a:rPr>
              <a:t>addresses</a:t>
            </a:r>
            <a:r>
              <a:rPr lang="nl-NL" sz="1800" b="0" i="0" u="none" strike="noStrike" baseline="0" dirty="0">
                <a:latin typeface="HardingText-Regular"/>
              </a:rPr>
              <a:t>, </a:t>
            </a:r>
            <a:r>
              <a:rPr lang="nl-NL" sz="1800" b="0" i="0" u="none" strike="noStrike" baseline="0" dirty="0" err="1">
                <a:latin typeface="HardingText-Regular"/>
              </a:rPr>
              <a:t>misrepresentations</a:t>
            </a:r>
            <a:r>
              <a:rPr lang="nl-NL" sz="1800" b="0" i="0" u="none" strike="noStrike" baseline="0" dirty="0">
                <a:latin typeface="HardingText-Regular"/>
              </a:rPr>
              <a:t> of </a:t>
            </a:r>
            <a:r>
              <a:rPr lang="en-US" sz="1800" b="0" i="0" u="none" strike="noStrike" baseline="0" dirty="0">
                <a:latin typeface="HardingText-Regular"/>
              </a:rPr>
              <a:t>the editorial board, false claims of indexing or membership of associations and misleading claims about the </a:t>
            </a:r>
            <a:r>
              <a:rPr lang="en-US" sz="1800" b="0" i="0" u="none" strike="noStrike" baseline="0" dirty="0" err="1">
                <a:latin typeface="HardingText-Regular"/>
              </a:rPr>
              <a:t>rigour</a:t>
            </a:r>
            <a:r>
              <a:rPr lang="en-US" sz="1800" b="0" i="0" u="none" strike="noStrike" baseline="0" dirty="0">
                <a:latin typeface="HardingText-Regular"/>
              </a:rPr>
              <a:t> of peer review.</a:t>
            </a:r>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6DD366-B849-4E7A-9561-DD9D98B5F1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202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44853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Elite researchers in China say they had ‘no choice’ but to commit misconduct (nature.com)</a:t>
            </a:r>
            <a:endParaRPr lang="en-US" dirty="0"/>
          </a:p>
          <a:p>
            <a:r>
              <a:rPr lang="nl-NL" dirty="0"/>
              <a:t>https://en.wikipedia.org/wiki/Sokal_affair</a:t>
            </a:r>
            <a:endParaRPr lang="en-US" dirty="0"/>
          </a:p>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6DD366-B849-4E7A-9561-DD9D98B5F1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2452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vil plays with the best laid plan</a:t>
            </a:r>
            <a:endParaRPr lang="nl-NL" dirty="0"/>
          </a:p>
        </p:txBody>
      </p:sp>
      <p:sp>
        <p:nvSpPr>
          <p:cNvPr id="4" name="Slide Number Placeholder 3"/>
          <p:cNvSpPr>
            <a:spLocks noGrp="1"/>
          </p:cNvSpPr>
          <p:nvPr>
            <p:ph type="sldNum" sz="quarter" idx="5"/>
          </p:nvPr>
        </p:nvSpPr>
        <p:spPr/>
        <p:txBody>
          <a:bodyPr/>
          <a:lstStyle/>
          <a:p>
            <a:fld id="{0DD62A92-BFCA-4113-A42D-D097953A7EE8}" type="slidenum">
              <a:rPr lang="nl-NL" smtClean="0"/>
              <a:t>5</a:t>
            </a:fld>
            <a:endParaRPr lang="nl-NL"/>
          </a:p>
        </p:txBody>
      </p:sp>
    </p:spTree>
    <p:extLst>
      <p:ext uri="{BB962C8B-B14F-4D97-AF65-F5344CB8AC3E}">
        <p14:creationId xmlns:p14="http://schemas.microsoft.com/office/powerpoint/2010/main" val="736802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redatory journals: no definition, no </a:t>
            </a:r>
            <a:r>
              <a:rPr lang="en-US" dirty="0" err="1">
                <a:hlinkClick r:id="rId3"/>
              </a:rPr>
              <a:t>defence</a:t>
            </a:r>
            <a:r>
              <a:rPr lang="en-US" dirty="0">
                <a:hlinkClick r:id="rId3"/>
              </a:rPr>
              <a:t> (nature.com)</a:t>
            </a:r>
            <a:endParaRPr lang="en-US" dirty="0"/>
          </a:p>
          <a:p>
            <a:r>
              <a:rPr lang="nl-NL" dirty="0"/>
              <a:t>https://www.doaj.org/</a:t>
            </a:r>
            <a:endParaRPr lang="en-US" dirty="0"/>
          </a:p>
          <a:p>
            <a:r>
              <a:rPr lang="nl-NL" dirty="0"/>
              <a:t>https://learn.cabells.com/external/manual/journalytics-medicine-predatory-reports/article/what-is-journalytics?p=45bf0b37eb068f380076713fd7aa06de7e335634802a4a81e8a69b37b1c9d024</a:t>
            </a:r>
            <a:endParaRPr lang="en-US" dirty="0"/>
          </a:p>
          <a:p>
            <a:r>
              <a:rPr lang="nl-NL" dirty="0"/>
              <a:t>https://beallslist.net/</a:t>
            </a:r>
          </a:p>
          <a:p>
            <a:endParaRPr lang="nl-NL" dirty="0"/>
          </a:p>
          <a:p>
            <a:r>
              <a:rPr lang="nl-NL" dirty="0" err="1"/>
              <a:t>Only</a:t>
            </a:r>
            <a:r>
              <a:rPr lang="nl-NL" dirty="0"/>
              <a:t> 8 to 9% (980/10077, 980/12457) overlap </a:t>
            </a:r>
            <a:r>
              <a:rPr lang="nl-NL" dirty="0" err="1"/>
              <a:t>between</a:t>
            </a:r>
            <a:r>
              <a:rPr lang="nl-NL" dirty="0"/>
              <a:t> </a:t>
            </a:r>
            <a:r>
              <a:rPr lang="nl-NL" dirty="0" err="1"/>
              <a:t>Cabells</a:t>
            </a:r>
            <a:r>
              <a:rPr lang="nl-NL" dirty="0"/>
              <a:t> </a:t>
            </a:r>
            <a:r>
              <a:rPr lang="nl-NL" dirty="0" err="1"/>
              <a:t>verified</a:t>
            </a:r>
            <a:r>
              <a:rPr lang="nl-NL" dirty="0"/>
              <a:t>/</a:t>
            </a:r>
            <a:r>
              <a:rPr lang="nl-NL" dirty="0" err="1"/>
              <a:t>legit</a:t>
            </a:r>
            <a:r>
              <a:rPr lang="nl-NL" dirty="0"/>
              <a:t> and DOAJ/</a:t>
            </a:r>
            <a:r>
              <a:rPr lang="nl-NL" dirty="0" err="1"/>
              <a:t>legit</a:t>
            </a:r>
            <a:r>
              <a:rPr lang="nl-NL" dirty="0"/>
              <a:t>! </a:t>
            </a:r>
          </a:p>
          <a:p>
            <a:endParaRPr lang="nl-NL" dirty="0"/>
          </a:p>
          <a:p>
            <a:r>
              <a:rPr lang="en-US" dirty="0">
                <a:hlinkClick r:id="rId4"/>
              </a:rPr>
              <a:t>Guest Post - Making Sense of Retractions and Tackling Research Misconduct - The Scholarly Kitchen (sspnet.org)</a:t>
            </a:r>
            <a:endParaRPr lang="nl-NL" dirty="0"/>
          </a:p>
          <a:p>
            <a:r>
              <a:rPr lang="nl-NL" dirty="0">
                <a:hlinkClick r:id="rId5"/>
              </a:rPr>
              <a:t>STM Integrity Hub - STM (stm-assoc.org)</a:t>
            </a:r>
            <a:endParaRPr lang="nl-NL" dirty="0"/>
          </a:p>
          <a:p>
            <a:r>
              <a:rPr lang="en-US" dirty="0" err="1">
                <a:hlinkClick r:id="rId6"/>
              </a:rPr>
              <a:t>PubPeer</a:t>
            </a:r>
            <a:r>
              <a:rPr lang="en-US" dirty="0">
                <a:hlinkClick r:id="rId6"/>
              </a:rPr>
              <a:t> - Search publications and join the conversation.</a:t>
            </a:r>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6DD366-B849-4E7A-9561-DD9D98B5F1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1051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wame.org/principles-of-transparency-and-best-practice-in-scholarly-publishing </a:t>
            </a:r>
          </a:p>
          <a:p>
            <a:r>
              <a:rPr lang="nl-NL" dirty="0"/>
              <a:t>https://thinkchecksubmit.or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6DD366-B849-4E7A-9561-DD9D98B5F14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90510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What is peer review - EASE : EASE</a:t>
            </a:r>
            <a:endParaRPr lang="en-US" dirty="0"/>
          </a:p>
          <a:p>
            <a:r>
              <a:rPr lang="nl-NL" dirty="0"/>
              <a:t>https://steamtraen.blogspot.com/search?q=fawzy</a:t>
            </a:r>
          </a:p>
          <a:p>
            <a:endParaRPr lang="nl-NL" dirty="0"/>
          </a:p>
        </p:txBody>
      </p:sp>
      <p:sp>
        <p:nvSpPr>
          <p:cNvPr id="4" name="Slide Number Placeholder 3"/>
          <p:cNvSpPr>
            <a:spLocks noGrp="1"/>
          </p:cNvSpPr>
          <p:nvPr>
            <p:ph type="sldNum" sz="quarter" idx="5"/>
          </p:nvPr>
        </p:nvSpPr>
        <p:spPr/>
        <p:txBody>
          <a:bodyPr/>
          <a:lstStyle/>
          <a:p>
            <a:fld id="{0DD62A92-BFCA-4113-A42D-D097953A7EE8}" type="slidenum">
              <a:rPr lang="nl-NL" smtClean="0"/>
              <a:t>8</a:t>
            </a:fld>
            <a:endParaRPr lang="nl-NL"/>
          </a:p>
        </p:txBody>
      </p:sp>
    </p:spTree>
    <p:extLst>
      <p:ext uri="{BB962C8B-B14F-4D97-AF65-F5344CB8AC3E}">
        <p14:creationId xmlns:p14="http://schemas.microsoft.com/office/powerpoint/2010/main" val="36817671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Fake papers end up in reviews </a:t>
            </a:r>
            <a:r>
              <a:rPr lang="nl-NL" dirty="0" err="1"/>
              <a:t>that</a:t>
            </a:r>
            <a:r>
              <a:rPr lang="nl-NL" dirty="0"/>
              <a:t> </a:t>
            </a:r>
            <a:r>
              <a:rPr lang="nl-NL" dirty="0" err="1"/>
              <a:t>may</a:t>
            </a:r>
            <a:r>
              <a:rPr lang="nl-NL" dirty="0"/>
              <a:t> affect </a:t>
            </a:r>
            <a:r>
              <a:rPr lang="nl-NL" dirty="0" err="1"/>
              <a:t>clinical</a:t>
            </a:r>
            <a:r>
              <a:rPr lang="nl-NL" dirty="0"/>
              <a:t> </a:t>
            </a:r>
            <a:r>
              <a:rPr lang="nl-NL" dirty="0" err="1"/>
              <a:t>patient</a:t>
            </a:r>
            <a:r>
              <a:rPr lang="nl-NL" dirty="0"/>
              <a:t> </a:t>
            </a:r>
            <a:r>
              <a:rPr lang="nl-NL" dirty="0" err="1"/>
              <a:t>guidelines</a:t>
            </a:r>
            <a:endParaRPr lang="nl-NL" dirty="0"/>
          </a:p>
          <a:p>
            <a:endParaRPr lang="nl-NL" dirty="0"/>
          </a:p>
          <a:p>
            <a:r>
              <a:rPr lang="nl-NL" dirty="0"/>
              <a:t>https://steamtraen.blogspot.com/search?q=fawzy</a:t>
            </a:r>
          </a:p>
          <a:p>
            <a:r>
              <a:rPr lang="nl-NL" dirty="0"/>
              <a:t>https://retractionwatch.com/2020/10/12/researchers-face-disciplinary-action-as-dozens-of-their-studies-fall-under-scrutiny/</a:t>
            </a:r>
          </a:p>
          <a:p>
            <a:r>
              <a:rPr lang="nl-NL" dirty="0"/>
              <a:t>https://retractionwatch.com/2021/08/10/critics-face-legal-threats-as-journal-takes-more-than-three-years-to-act/</a:t>
            </a:r>
          </a:p>
        </p:txBody>
      </p:sp>
      <p:sp>
        <p:nvSpPr>
          <p:cNvPr id="4" name="Slide Number Placeholder 3"/>
          <p:cNvSpPr>
            <a:spLocks noGrp="1"/>
          </p:cNvSpPr>
          <p:nvPr>
            <p:ph type="sldNum" sz="quarter" idx="5"/>
          </p:nvPr>
        </p:nvSpPr>
        <p:spPr/>
        <p:txBody>
          <a:bodyPr/>
          <a:lstStyle/>
          <a:p>
            <a:fld id="{0DD62A92-BFCA-4113-A42D-D097953A7EE8}" type="slidenum">
              <a:rPr lang="nl-NL" smtClean="0"/>
              <a:t>9</a:t>
            </a:fld>
            <a:endParaRPr lang="nl-NL"/>
          </a:p>
        </p:txBody>
      </p:sp>
    </p:spTree>
    <p:extLst>
      <p:ext uri="{BB962C8B-B14F-4D97-AF65-F5344CB8AC3E}">
        <p14:creationId xmlns:p14="http://schemas.microsoft.com/office/powerpoint/2010/main" val="1949362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t us not be ashamed of what we don’t know, and what reviewers were kind enough to help us with. By sharing this information we will be able to better design educational interventions, and improve science. Please don’t hold your knowledge to yourselves, this pandemic and climate changes are maybe alerting us that we might not have as much time – lets use it best. Do we really need to wait for a top down approach to force open access or open peer review on u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382719-0CBB-4B00-AE0C-45959DF0D52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155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www.elsevier.com/reviewer/how-to-review/structured-peer-review</a:t>
            </a:r>
          </a:p>
          <a:p>
            <a:r>
              <a:rPr lang="nl-NL" dirty="0"/>
              <a:t>https://www.biorxiv.org/content/10.1101/2024.02.01.578440v1</a:t>
            </a:r>
          </a:p>
          <a:p>
            <a:r>
              <a:rPr lang="nl-NL" dirty="0"/>
              <a:t>https://scholar.google.nl/scholar?q=kilicoglu+ter+riet&amp;hl=en&amp;as_sdt=0&amp;as_vis=1&amp;oi=scholart</a:t>
            </a:r>
          </a:p>
        </p:txBody>
      </p:sp>
      <p:sp>
        <p:nvSpPr>
          <p:cNvPr id="4" name="Slide Number Placeholder 3"/>
          <p:cNvSpPr>
            <a:spLocks noGrp="1"/>
          </p:cNvSpPr>
          <p:nvPr>
            <p:ph type="sldNum" sz="quarter" idx="5"/>
          </p:nvPr>
        </p:nvSpPr>
        <p:spPr/>
        <p:txBody>
          <a:bodyPr/>
          <a:lstStyle/>
          <a:p>
            <a:fld id="{0DD62A92-BFCA-4113-A42D-D097953A7EE8}" type="slidenum">
              <a:rPr lang="nl-NL" smtClean="0"/>
              <a:t>12</a:t>
            </a:fld>
            <a:endParaRPr lang="nl-NL"/>
          </a:p>
        </p:txBody>
      </p:sp>
    </p:spTree>
    <p:extLst>
      <p:ext uri="{BB962C8B-B14F-4D97-AF65-F5344CB8AC3E}">
        <p14:creationId xmlns:p14="http://schemas.microsoft.com/office/powerpoint/2010/main" val="5766247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93DD-5D56-84F7-8B9A-06F2D541355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30A3E08E-530F-FF90-9590-04A6B174BF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E1A101CF-AAE0-C1A2-E5EC-2C6BB66B82CE}"/>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5" name="Footer Placeholder 4">
            <a:extLst>
              <a:ext uri="{FF2B5EF4-FFF2-40B4-BE49-F238E27FC236}">
                <a16:creationId xmlns:a16="http://schemas.microsoft.com/office/drawing/2014/main" id="{EC63A222-B93A-79DC-7F36-10EA512B7670}"/>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6AC609FE-42D5-A557-BF04-5FDE9493FA83}"/>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27043118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5835A-FF68-766A-46E4-2A955D279010}"/>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BFF02FD3-720A-75F2-227D-4FB7B5E6257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71EF2ECE-6ED5-D6BC-7674-8FB856476996}"/>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5" name="Footer Placeholder 4">
            <a:extLst>
              <a:ext uri="{FF2B5EF4-FFF2-40B4-BE49-F238E27FC236}">
                <a16:creationId xmlns:a16="http://schemas.microsoft.com/office/drawing/2014/main" id="{31020BB9-12B8-FD43-E3D7-468FFFACC9E3}"/>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3FBA7F7C-D9D0-F118-0ED5-DDBA9B4176A8}"/>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3885896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687E57-9462-FE4E-983D-BDFD54EC47B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49DDA205-D24A-EC26-0064-7740C16884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89CE060A-A397-FB12-A2BF-391D52744690}"/>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5" name="Footer Placeholder 4">
            <a:extLst>
              <a:ext uri="{FF2B5EF4-FFF2-40B4-BE49-F238E27FC236}">
                <a16:creationId xmlns:a16="http://schemas.microsoft.com/office/drawing/2014/main" id="{5DA4B53F-8547-E965-3B0B-E765837ED445}"/>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A7934E6A-2AB4-52A1-7559-8F7DA9A257DD}"/>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12917388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CA173-3FD6-4311-9194-37482BE4E2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0CC7BBB-C798-4C2C-95AC-163A3ED4298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01CB686-546B-4D18-8765-DAD8FD1CE872}"/>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5" name="Footer Placeholder 4">
            <a:extLst>
              <a:ext uri="{FF2B5EF4-FFF2-40B4-BE49-F238E27FC236}">
                <a16:creationId xmlns:a16="http://schemas.microsoft.com/office/drawing/2014/main" id="{358B3E72-61A4-4F67-A4C1-030D9E2E8A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33B795-3A65-40A3-96C7-41E65DC07EE7}"/>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19569433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4D618-6534-4558-9117-48C51C4AB47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05F5FCA-1E95-4E82-921C-F17AE3F5F7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BFE407-013A-484E-A902-5805BA9C9C88}"/>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5" name="Footer Placeholder 4">
            <a:extLst>
              <a:ext uri="{FF2B5EF4-FFF2-40B4-BE49-F238E27FC236}">
                <a16:creationId xmlns:a16="http://schemas.microsoft.com/office/drawing/2014/main" id="{6361609F-EB27-423A-9F76-FCD0AFAF97E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F77EE61-451A-45FC-9146-6A93A1AC44BA}"/>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3444436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B4A25-C2A8-41B7-90A2-B3371470A46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9688C66-0D46-419A-BAAA-273DBA09C2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2BDF326-ACBE-47D8-927F-E9B3A64D3B99}"/>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5" name="Footer Placeholder 4">
            <a:extLst>
              <a:ext uri="{FF2B5EF4-FFF2-40B4-BE49-F238E27FC236}">
                <a16:creationId xmlns:a16="http://schemas.microsoft.com/office/drawing/2014/main" id="{14878ADB-BB45-4763-B0FB-CF2B1B1BF4F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D07EABA-4205-4716-AD1B-A4BD64247E05}"/>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19131894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AED1F-6E68-4009-9817-A7BE2225F33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CA99E32-3846-44ED-B663-B6F305C303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FD2D4CB-2C68-442D-ABB3-EFCED2DF06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FE33B49-9307-4D36-A160-F192FC57B190}"/>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6" name="Footer Placeholder 5">
            <a:extLst>
              <a:ext uri="{FF2B5EF4-FFF2-40B4-BE49-F238E27FC236}">
                <a16:creationId xmlns:a16="http://schemas.microsoft.com/office/drawing/2014/main" id="{FE22A415-D5AF-46D4-A04E-E4917F371B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9253E5A-6ADE-4354-88FD-8C3393D28E4D}"/>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306802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93ED9-B45A-4CBC-93EE-5FF1EFB339A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DE10464-B6B7-4A45-9DEE-0A8432EE92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0D8EB01-0D39-4794-BB82-1091836BB46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1B62ED7-8737-4DF8-A2BC-5D7549F135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5A6AF9-49D7-42F1-BC5D-A4CF315636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7D101C2-D279-4BE2-8AF8-708D6E73D737}"/>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8" name="Footer Placeholder 7">
            <a:extLst>
              <a:ext uri="{FF2B5EF4-FFF2-40B4-BE49-F238E27FC236}">
                <a16:creationId xmlns:a16="http://schemas.microsoft.com/office/drawing/2014/main" id="{F24E2984-E254-487D-99BC-E54B724DF0B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8D836AD-7CF1-42D2-B81C-8DC30342A748}"/>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10047817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88577-71BE-4668-A667-FD942969A6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6CA460C-3AD2-4BF0-B3F2-8E85607A82BB}"/>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4" name="Footer Placeholder 3">
            <a:extLst>
              <a:ext uri="{FF2B5EF4-FFF2-40B4-BE49-F238E27FC236}">
                <a16:creationId xmlns:a16="http://schemas.microsoft.com/office/drawing/2014/main" id="{9147A2C1-DC59-49CA-A963-30A8104147A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CE538BD-C300-41FD-B018-05D2AE6DFE2E}"/>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21001639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8814D0-9C1D-49E8-9719-E6D090FA0D83}"/>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3" name="Footer Placeholder 2">
            <a:extLst>
              <a:ext uri="{FF2B5EF4-FFF2-40B4-BE49-F238E27FC236}">
                <a16:creationId xmlns:a16="http://schemas.microsoft.com/office/drawing/2014/main" id="{900B1822-4185-4640-8340-D1507F9927D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630EE017-00E2-42E6-9CFD-BEC7FFFEA484}"/>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1929894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45BFF-98CC-4DC5-B07B-E1CCE707BD9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8434F71-4034-4184-BCA9-E5E2FA236A5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3B8FAF6-A0B2-4D64-88D4-790EC88D9B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96A8443-AF5D-4CF5-9D03-BFE6129BB33B}"/>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6" name="Footer Placeholder 5">
            <a:extLst>
              <a:ext uri="{FF2B5EF4-FFF2-40B4-BE49-F238E27FC236}">
                <a16:creationId xmlns:a16="http://schemas.microsoft.com/office/drawing/2014/main" id="{87E0C558-322A-4DB1-9997-3958813DA12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601E63A-3FC9-445E-8BF3-70783EE4CEFD}"/>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1786390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C58FB-B3E7-7F35-0BD8-6BCFAEADE77B}"/>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E61067A2-1F5E-603E-528E-B8EE4FBF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F27B8A6F-896D-9816-1C37-08793413856E}"/>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5" name="Footer Placeholder 4">
            <a:extLst>
              <a:ext uri="{FF2B5EF4-FFF2-40B4-BE49-F238E27FC236}">
                <a16:creationId xmlns:a16="http://schemas.microsoft.com/office/drawing/2014/main" id="{CBEC6DD7-E609-3AC4-0E7F-03435751D7C2}"/>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5062A9CC-4767-C6F3-F34E-AED59B625557}"/>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21047090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FD3D8-11A6-4172-97B5-4EA9818DB7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3B3654E-601F-46E5-916E-6637608A1DC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706F5BA-AC60-4E40-A481-AAF15184B8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AFB805-24DA-4AF0-9B7A-D0E36B52C8A6}"/>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6" name="Footer Placeholder 5">
            <a:extLst>
              <a:ext uri="{FF2B5EF4-FFF2-40B4-BE49-F238E27FC236}">
                <a16:creationId xmlns:a16="http://schemas.microsoft.com/office/drawing/2014/main" id="{FE9629D8-E0ED-4FCB-AF1E-04293CF3AFB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5D87329-BE76-4E0F-9EEB-5499B64C1FA4}"/>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33628903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D082C-5CAF-443B-84C3-057AAFEEFC3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98BD29A-1EE2-461F-93D9-00502FCB3A7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F4B067F-91CA-4420-A026-5228CA150EF6}"/>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5" name="Footer Placeholder 4">
            <a:extLst>
              <a:ext uri="{FF2B5EF4-FFF2-40B4-BE49-F238E27FC236}">
                <a16:creationId xmlns:a16="http://schemas.microsoft.com/office/drawing/2014/main" id="{DFA6815C-57E0-47F1-974E-7455465A286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B619412-1CDB-4A01-8BB3-5CB56B84F824}"/>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10619714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BA2DBD3-F9F6-4093-B122-F133F18412A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A4CDFD8-0756-4747-9320-E3823EFB807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A0A1C22-5F19-48E5-AA68-7647BDB3302E}"/>
              </a:ext>
            </a:extLst>
          </p:cNvPr>
          <p:cNvSpPr>
            <a:spLocks noGrp="1"/>
          </p:cNvSpPr>
          <p:nvPr>
            <p:ph type="dt" sz="half" idx="10"/>
          </p:nvPr>
        </p:nvSpPr>
        <p:spPr/>
        <p:txBody>
          <a:bodyPr/>
          <a:lstStyle/>
          <a:p>
            <a:fld id="{CE1CC62D-F3D7-4234-8EE6-581CA843CC45}" type="datetimeFigureOut">
              <a:rPr lang="en-GB" smtClean="0"/>
              <a:t>18/06/2024</a:t>
            </a:fld>
            <a:endParaRPr lang="en-GB"/>
          </a:p>
        </p:txBody>
      </p:sp>
      <p:sp>
        <p:nvSpPr>
          <p:cNvPr id="5" name="Footer Placeholder 4">
            <a:extLst>
              <a:ext uri="{FF2B5EF4-FFF2-40B4-BE49-F238E27FC236}">
                <a16:creationId xmlns:a16="http://schemas.microsoft.com/office/drawing/2014/main" id="{9F55C45B-B7F9-4A61-BF83-C39AA9D6E0D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6D250DC-85DB-4909-85A3-9C6835A94A10}"/>
              </a:ext>
            </a:extLst>
          </p:cNvPr>
          <p:cNvSpPr>
            <a:spLocks noGrp="1"/>
          </p:cNvSpPr>
          <p:nvPr>
            <p:ph type="sldNum" sz="quarter" idx="12"/>
          </p:nvPr>
        </p:nvSpPr>
        <p:spPr/>
        <p:txBody>
          <a:bodyPr/>
          <a:lstStyle/>
          <a:p>
            <a:fld id="{CBC3E0CE-A699-480E-A97E-BDD7CD475E63}" type="slidenum">
              <a:rPr lang="en-GB" smtClean="0"/>
              <a:t>‹#›</a:t>
            </a:fld>
            <a:endParaRPr lang="en-GB"/>
          </a:p>
        </p:txBody>
      </p:sp>
    </p:spTree>
    <p:extLst>
      <p:ext uri="{BB962C8B-B14F-4D97-AF65-F5344CB8AC3E}">
        <p14:creationId xmlns:p14="http://schemas.microsoft.com/office/powerpoint/2010/main" val="21230147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ctrTitle"/>
          </p:nvPr>
        </p:nvSpPr>
        <p:spPr>
          <a:xfrm>
            <a:off x="622979" y="2404205"/>
            <a:ext cx="6781777" cy="1812195"/>
          </a:xfrm>
        </p:spPr>
        <p:txBody>
          <a:bodyPr anchor="t" anchorCtr="0">
            <a:noAutofit/>
          </a:bodyPr>
          <a:lstStyle>
            <a:lvl1pPr algn="l">
              <a:lnSpc>
                <a:spcPts val="7466"/>
              </a:lnSpc>
              <a:defRPr sz="5067">
                <a:solidFill>
                  <a:schemeClr val="tx1"/>
                </a:solidFill>
              </a:defRPr>
            </a:lvl1pPr>
          </a:lstStyle>
          <a:p>
            <a:r>
              <a:rPr lang="nl-NL" dirty="0"/>
              <a:t>Click to edit Master title style</a:t>
            </a:r>
            <a:endParaRPr lang="de-DE" dirty="0"/>
          </a:p>
        </p:txBody>
      </p:sp>
      <p:sp>
        <p:nvSpPr>
          <p:cNvPr id="12" name="Text Placeholder 11"/>
          <p:cNvSpPr>
            <a:spLocks noGrp="1"/>
          </p:cNvSpPr>
          <p:nvPr>
            <p:ph type="body" sz="quarter" idx="14" hasCustomPrompt="1"/>
          </p:nvPr>
        </p:nvSpPr>
        <p:spPr>
          <a:xfrm>
            <a:off x="638386" y="5421076"/>
            <a:ext cx="6816945" cy="647408"/>
          </a:xfrm>
        </p:spPr>
        <p:txBody>
          <a:bodyPr>
            <a:noAutofit/>
          </a:bodyPr>
          <a:lstStyle>
            <a:lvl1pPr marL="0" indent="0">
              <a:lnSpc>
                <a:spcPts val="2933"/>
              </a:lnSpc>
              <a:spcBef>
                <a:spcPts val="0"/>
              </a:spcBef>
              <a:buNone/>
              <a:defRPr sz="1733">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endParaRPr lang="de-DE" dirty="0"/>
          </a:p>
        </p:txBody>
      </p:sp>
      <p:sp>
        <p:nvSpPr>
          <p:cNvPr id="7" name="Text Placeholder 6"/>
          <p:cNvSpPr>
            <a:spLocks noGrp="1"/>
          </p:cNvSpPr>
          <p:nvPr>
            <p:ph type="body" sz="quarter" idx="15" hasCustomPrompt="1"/>
          </p:nvPr>
        </p:nvSpPr>
        <p:spPr>
          <a:xfrm>
            <a:off x="639913" y="4584313"/>
            <a:ext cx="6781777" cy="1249363"/>
          </a:xfrm>
        </p:spPr>
        <p:txBody>
          <a:bodyPr>
            <a:noAutofit/>
          </a:bodyPr>
          <a:lstStyle>
            <a:lvl1pPr marL="0" indent="0">
              <a:lnSpc>
                <a:spcPts val="4267"/>
              </a:lnSpc>
              <a:buNone/>
              <a:defRPr sz="30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endParaRPr lang="de-DE"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4323" y="787061"/>
            <a:ext cx="1058335" cy="1152000"/>
          </a:xfrm>
          <a:prstGeom prst="rect">
            <a:avLst/>
          </a:prstGeom>
        </p:spPr>
      </p:pic>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08472" y="2746184"/>
            <a:ext cx="4255245" cy="4255245"/>
          </a:xfrm>
          <a:prstGeom prst="rect">
            <a:avLst/>
          </a:prstGeom>
        </p:spPr>
      </p:pic>
    </p:spTree>
    <p:extLst>
      <p:ext uri="{BB962C8B-B14F-4D97-AF65-F5344CB8AC3E}">
        <p14:creationId xmlns:p14="http://schemas.microsoft.com/office/powerpoint/2010/main" val="1070684528"/>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8468FA-E383-21D8-F898-88E2BBD2E9BF}"/>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D5FB7A5E-095C-677E-E1CC-6DB9BC1C29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8BAAABF4-C19F-1301-EF32-A8CFCEF2C5D5}"/>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5" name="Tijdelijke aanduiding voor voettekst 4">
            <a:extLst>
              <a:ext uri="{FF2B5EF4-FFF2-40B4-BE49-F238E27FC236}">
                <a16:creationId xmlns:a16="http://schemas.microsoft.com/office/drawing/2014/main" id="{E31696DF-3A3F-4CE2-7FC2-FB18237D71B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E22BCC5A-76FC-C5F6-E9BF-CBE596428466}"/>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30601856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D0F178-D134-706A-AF4E-499ACD630543}"/>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02C3443E-3678-51E6-F0A0-E4BCBF3FE3D9}"/>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C3E177A9-23D5-E929-E011-34259FA4E26A}"/>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5" name="Tijdelijke aanduiding voor voettekst 4">
            <a:extLst>
              <a:ext uri="{FF2B5EF4-FFF2-40B4-BE49-F238E27FC236}">
                <a16:creationId xmlns:a16="http://schemas.microsoft.com/office/drawing/2014/main" id="{5D3A4C3D-E63B-D116-8C38-3CBF3EC29C4C}"/>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B568CDC1-81D6-B196-8CEE-EE4AC646F667}"/>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18386572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F07D0-9995-8F36-394C-04279AAFE88E}"/>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7AA5C49F-4519-743C-1A3D-DC69D8C4E9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DEE2296E-1F39-259A-2726-741D0B7D13F1}"/>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5" name="Tijdelijke aanduiding voor voettekst 4">
            <a:extLst>
              <a:ext uri="{FF2B5EF4-FFF2-40B4-BE49-F238E27FC236}">
                <a16:creationId xmlns:a16="http://schemas.microsoft.com/office/drawing/2014/main" id="{1F7D1C4B-672A-AC34-BB1D-2DD5ECDBE48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DC67B929-B72B-7CE1-33F2-B1425060052F}"/>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30199594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9FF37A-1C71-828F-9DF3-B58486F4AFA9}"/>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F8DF5A96-D8EF-4FE9-5AEB-5FBD9EAEC947}"/>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8C954CF5-463E-9B34-77FA-6467720DDD58}"/>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734E2E0A-C2F2-CED7-510A-19E0BD743830}"/>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6" name="Tijdelijke aanduiding voor voettekst 5">
            <a:extLst>
              <a:ext uri="{FF2B5EF4-FFF2-40B4-BE49-F238E27FC236}">
                <a16:creationId xmlns:a16="http://schemas.microsoft.com/office/drawing/2014/main" id="{40AD488C-5B98-03AD-6951-C251C55463C2}"/>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1C83CD59-CC6D-7F55-5DFA-A5AE78792FBC}"/>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789039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C1669B-2843-9744-AF5A-E77A3347A5E4}"/>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C1D47A6D-3A9F-9FC1-33A4-4303E95E643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E369C5E0-E576-2C45-E464-2AC383FFBF00}"/>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B6D7226D-1017-5B3C-8431-EB0EF6828DE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12EAB41E-87F1-BEFB-93E4-53242603372D}"/>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E98B3741-4D9F-108E-0AF2-59697DA560AF}"/>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8" name="Tijdelijke aanduiding voor voettekst 7">
            <a:extLst>
              <a:ext uri="{FF2B5EF4-FFF2-40B4-BE49-F238E27FC236}">
                <a16:creationId xmlns:a16="http://schemas.microsoft.com/office/drawing/2014/main" id="{FC6DC55F-EEF9-E20D-5EAC-6249474DDA00}"/>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7F4EF9B8-D113-8064-30DE-4C69D9B5FFD5}"/>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20321877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BC238E-05DB-9FFB-F232-A89E1EE388A9}"/>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2A56510D-2DA7-96C7-7C65-A05DCCB84572}"/>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4" name="Tijdelijke aanduiding voor voettekst 3">
            <a:extLst>
              <a:ext uri="{FF2B5EF4-FFF2-40B4-BE49-F238E27FC236}">
                <a16:creationId xmlns:a16="http://schemas.microsoft.com/office/drawing/2014/main" id="{B6C5EE0E-699D-97A0-BDA3-D3B954287D52}"/>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4859D523-71C1-4661-F36A-74CBBF9D0223}"/>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2078319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270CE-D033-D3A7-3F77-3A8588898DA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BD0E55D5-0F73-254B-FEA9-006E8CC431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3A57555-3036-A2A9-212A-48A7E120258D}"/>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5" name="Footer Placeholder 4">
            <a:extLst>
              <a:ext uri="{FF2B5EF4-FFF2-40B4-BE49-F238E27FC236}">
                <a16:creationId xmlns:a16="http://schemas.microsoft.com/office/drawing/2014/main" id="{3D2CE225-75A9-B6AA-D9D0-37567E4ED6BE}"/>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4D997905-F3AB-B911-3C7A-A63EBECEA95D}"/>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2834574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88EA48CC-40B2-AFED-DE77-46B128D0AD91}"/>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3" name="Tijdelijke aanduiding voor voettekst 2">
            <a:extLst>
              <a:ext uri="{FF2B5EF4-FFF2-40B4-BE49-F238E27FC236}">
                <a16:creationId xmlns:a16="http://schemas.microsoft.com/office/drawing/2014/main" id="{318ED66E-9263-22C6-D06B-098C3B34AD06}"/>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7186F3DE-9CB6-7557-01F2-25E2A0A2FF39}"/>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3599091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325B57-6B2F-4E8F-3F02-458C3B1510B4}"/>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A36F219F-D2A4-6726-0972-C5BE4ADF99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C61F6FDC-F32F-7E37-951F-AD9F4C3115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D2A41A4E-7A88-C1F6-04C6-D6348BCB2577}"/>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6" name="Tijdelijke aanduiding voor voettekst 5">
            <a:extLst>
              <a:ext uri="{FF2B5EF4-FFF2-40B4-BE49-F238E27FC236}">
                <a16:creationId xmlns:a16="http://schemas.microsoft.com/office/drawing/2014/main" id="{AACC30F6-362D-B792-BE6A-98F53F8E4E30}"/>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4F8FEFC8-071F-A4EA-16C1-B7F8F2382179}"/>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6059936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83A29E-A927-7D3C-AFD2-816C9A3BE53F}"/>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875A4FD5-9C95-29A5-660F-98AEC7214BF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31348DD1-5AFB-FB2F-6D00-6D6B9D383C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DF431A3B-AF34-2F30-3A09-68BA0EC8790B}"/>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6" name="Tijdelijke aanduiding voor voettekst 5">
            <a:extLst>
              <a:ext uri="{FF2B5EF4-FFF2-40B4-BE49-F238E27FC236}">
                <a16:creationId xmlns:a16="http://schemas.microsoft.com/office/drawing/2014/main" id="{E66A82CD-786C-985B-F23E-5F49FDC855D9}"/>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E838F1AA-E405-B556-C8E1-D77E4C75194B}"/>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21752023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B8E150-F6FA-DD1B-D9A1-21FA7FC3A22B}"/>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2314659B-2BE0-9D6F-C844-9B4F16973186}"/>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B2C7B592-9145-0DBB-15D3-5A8A8229470F}"/>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5" name="Tijdelijke aanduiding voor voettekst 4">
            <a:extLst>
              <a:ext uri="{FF2B5EF4-FFF2-40B4-BE49-F238E27FC236}">
                <a16:creationId xmlns:a16="http://schemas.microsoft.com/office/drawing/2014/main" id="{ECADEEB2-8544-AA49-D9E2-5CB7AF6E784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5E02BEC6-8B55-4FF6-0FD9-2FFC2BB89F67}"/>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30911149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7312F56B-3B5A-780C-F561-81CF1AA15423}"/>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92EEF500-78CF-700E-8CEE-E2080846DCFA}"/>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1213ED6-44CA-536E-8B28-505C3FE527DB}"/>
              </a:ext>
            </a:extLst>
          </p:cNvPr>
          <p:cNvSpPr>
            <a:spLocks noGrp="1"/>
          </p:cNvSpPr>
          <p:nvPr>
            <p:ph type="dt" sz="half" idx="10"/>
          </p:nvPr>
        </p:nvSpPr>
        <p:spPr/>
        <p:txBody>
          <a:bodyPr/>
          <a:lstStyle/>
          <a:p>
            <a:fld id="{27A9D3D9-F1DA-4F4B-9665-3674BC084898}" type="datetimeFigureOut">
              <a:rPr lang="nl-NL" smtClean="0"/>
              <a:t>18-6-2024</a:t>
            </a:fld>
            <a:endParaRPr lang="nl-NL"/>
          </a:p>
        </p:txBody>
      </p:sp>
      <p:sp>
        <p:nvSpPr>
          <p:cNvPr id="5" name="Tijdelijke aanduiding voor voettekst 4">
            <a:extLst>
              <a:ext uri="{FF2B5EF4-FFF2-40B4-BE49-F238E27FC236}">
                <a16:creationId xmlns:a16="http://schemas.microsoft.com/office/drawing/2014/main" id="{0FE503FC-091A-4B7B-372E-3B73A7965E76}"/>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5B33D7E-AF95-A109-6AA9-E7F551809741}"/>
              </a:ext>
            </a:extLst>
          </p:cNvPr>
          <p:cNvSpPr>
            <a:spLocks noGrp="1"/>
          </p:cNvSpPr>
          <p:nvPr>
            <p:ph type="sldNum" sz="quarter" idx="12"/>
          </p:nvPr>
        </p:nvSpPr>
        <p:spPr/>
        <p:txBody>
          <a:bodyPr/>
          <a:lstStyle/>
          <a:p>
            <a:fld id="{C86A43CF-AFDA-4502-89E9-0CC46068D5F6}" type="slidenum">
              <a:rPr lang="nl-NL" smtClean="0"/>
              <a:t>‹#›</a:t>
            </a:fld>
            <a:endParaRPr lang="nl-NL"/>
          </a:p>
        </p:txBody>
      </p:sp>
    </p:spTree>
    <p:extLst>
      <p:ext uri="{BB962C8B-B14F-4D97-AF65-F5344CB8AC3E}">
        <p14:creationId xmlns:p14="http://schemas.microsoft.com/office/powerpoint/2010/main" val="12490468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E2E27-C6C6-874B-3AD8-CBE42CE6AA7E}"/>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7971D992-F8DD-5D65-EB3C-05B2AEE539F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A2109301-2845-BE59-54D1-F6BDB640496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32A1AA34-1D68-2E35-04DA-20DC0BEC1FB9}"/>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6" name="Footer Placeholder 5">
            <a:extLst>
              <a:ext uri="{FF2B5EF4-FFF2-40B4-BE49-F238E27FC236}">
                <a16:creationId xmlns:a16="http://schemas.microsoft.com/office/drawing/2014/main" id="{D90C37F1-CEC6-EBC8-D7EB-A12AE5307804}"/>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3292E70F-C23E-E4A2-96D6-62B89372DAED}"/>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35171914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51947-B83A-5BDF-5DC4-4C0C0F6EADCE}"/>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2017A5FB-C740-9356-260E-81218F842B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7CBB4D-334D-909E-1156-98F0015DC2A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16A669A6-D6D6-A0E8-34F9-502D8D32EA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4160236-57D6-C0B4-B3A7-AC2BFBDB577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17958BA1-D45A-C897-34D2-86A5BEEB73E1}"/>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8" name="Footer Placeholder 7">
            <a:extLst>
              <a:ext uri="{FF2B5EF4-FFF2-40B4-BE49-F238E27FC236}">
                <a16:creationId xmlns:a16="http://schemas.microsoft.com/office/drawing/2014/main" id="{6C9685B0-C3DD-594F-1036-4CD9B86EE98C}"/>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E4170DD9-55AA-3205-6D27-B898BE57BFA4}"/>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23017292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17204-B051-148B-BB31-AC80D8EEE70E}"/>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3E290507-8B4F-1958-1D31-90CEF298223E}"/>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4" name="Footer Placeholder 3">
            <a:extLst>
              <a:ext uri="{FF2B5EF4-FFF2-40B4-BE49-F238E27FC236}">
                <a16:creationId xmlns:a16="http://schemas.microsoft.com/office/drawing/2014/main" id="{01CE8862-FA2C-ACF4-7557-875858C8D7AD}"/>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774F5D80-C5E9-18B5-47B8-943B0FB1333E}"/>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318770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278750-0927-7F6D-EBEA-02463DD90CE3}"/>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3" name="Footer Placeholder 2">
            <a:extLst>
              <a:ext uri="{FF2B5EF4-FFF2-40B4-BE49-F238E27FC236}">
                <a16:creationId xmlns:a16="http://schemas.microsoft.com/office/drawing/2014/main" id="{44DB547C-8612-AF7A-A4CD-0FC2110D8CAA}"/>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AA29365C-86A4-F1D6-ECD4-36D6FCEBEF16}"/>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42079751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22859-2551-3812-F47E-06106BD339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9FFA73C0-32EB-CB8C-E45F-C1EE34C0511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CC504BDE-D5FB-344C-F256-0FDED70F55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4714AB-D055-D854-306A-198C0F72B90E}"/>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6" name="Footer Placeholder 5">
            <a:extLst>
              <a:ext uri="{FF2B5EF4-FFF2-40B4-BE49-F238E27FC236}">
                <a16:creationId xmlns:a16="http://schemas.microsoft.com/office/drawing/2014/main" id="{BF839AD5-90DC-BC3D-0D91-670C20F31845}"/>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6A1E49A6-252F-42F9-1AC7-718215F2B1A9}"/>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17710392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58DEE-EA71-008D-D583-9E21FB2A0A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FE6DB706-7FC9-7167-BC34-FD269E33F75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F5249556-54DE-BE33-0359-1C63D776AD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BD5760-FE67-E79F-896D-4877B5A78C80}"/>
              </a:ext>
            </a:extLst>
          </p:cNvPr>
          <p:cNvSpPr>
            <a:spLocks noGrp="1"/>
          </p:cNvSpPr>
          <p:nvPr>
            <p:ph type="dt" sz="half" idx="10"/>
          </p:nvPr>
        </p:nvSpPr>
        <p:spPr/>
        <p:txBody>
          <a:bodyPr/>
          <a:lstStyle/>
          <a:p>
            <a:fld id="{C9919D1F-758F-4357-A91D-4CAD0262A30F}" type="datetimeFigureOut">
              <a:rPr lang="nl-NL" smtClean="0"/>
              <a:t>18-6-2024</a:t>
            </a:fld>
            <a:endParaRPr lang="nl-NL"/>
          </a:p>
        </p:txBody>
      </p:sp>
      <p:sp>
        <p:nvSpPr>
          <p:cNvPr id="6" name="Footer Placeholder 5">
            <a:extLst>
              <a:ext uri="{FF2B5EF4-FFF2-40B4-BE49-F238E27FC236}">
                <a16:creationId xmlns:a16="http://schemas.microsoft.com/office/drawing/2014/main" id="{A4E75475-1D83-542E-27A0-210781823580}"/>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09054B0F-D123-F869-A3FA-32CE036A9214}"/>
              </a:ext>
            </a:extLst>
          </p:cNvPr>
          <p:cNvSpPr>
            <a:spLocks noGrp="1"/>
          </p:cNvSpPr>
          <p:nvPr>
            <p:ph type="sldNum" sz="quarter" idx="12"/>
          </p:nvPr>
        </p:nvSpPr>
        <p:spPr/>
        <p:txBody>
          <a:bodyPr/>
          <a:lstStyle/>
          <a:p>
            <a:fld id="{76AE0380-1C4E-4A49-AA0B-147B1FB4D6F0}" type="slidenum">
              <a:rPr lang="nl-NL" smtClean="0"/>
              <a:t>‹#›</a:t>
            </a:fld>
            <a:endParaRPr lang="nl-NL"/>
          </a:p>
        </p:txBody>
      </p:sp>
    </p:spTree>
    <p:extLst>
      <p:ext uri="{BB962C8B-B14F-4D97-AF65-F5344CB8AC3E}">
        <p14:creationId xmlns:p14="http://schemas.microsoft.com/office/powerpoint/2010/main" val="31676740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31EF9ED-0545-7300-14ED-C50E7DC6AB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D937B67F-22B8-463C-FCBB-1B042D6A40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39506625-4C8C-52F0-8396-95816ECEA0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919D1F-758F-4357-A91D-4CAD0262A30F}" type="datetimeFigureOut">
              <a:rPr lang="nl-NL" smtClean="0"/>
              <a:t>18-6-2024</a:t>
            </a:fld>
            <a:endParaRPr lang="nl-NL"/>
          </a:p>
        </p:txBody>
      </p:sp>
      <p:sp>
        <p:nvSpPr>
          <p:cNvPr id="5" name="Footer Placeholder 4">
            <a:extLst>
              <a:ext uri="{FF2B5EF4-FFF2-40B4-BE49-F238E27FC236}">
                <a16:creationId xmlns:a16="http://schemas.microsoft.com/office/drawing/2014/main" id="{E2E28D17-6E2F-371D-3DA5-24D584B90B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a:extLst>
              <a:ext uri="{FF2B5EF4-FFF2-40B4-BE49-F238E27FC236}">
                <a16:creationId xmlns:a16="http://schemas.microsoft.com/office/drawing/2014/main" id="{3F72B935-4C2B-03B6-284B-FE2D673B18A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6AE0380-1C4E-4A49-AA0B-147B1FB4D6F0}" type="slidenum">
              <a:rPr lang="nl-NL" smtClean="0"/>
              <a:t>‹#›</a:t>
            </a:fld>
            <a:endParaRPr lang="nl-NL"/>
          </a:p>
        </p:txBody>
      </p:sp>
    </p:spTree>
    <p:extLst>
      <p:ext uri="{BB962C8B-B14F-4D97-AF65-F5344CB8AC3E}">
        <p14:creationId xmlns:p14="http://schemas.microsoft.com/office/powerpoint/2010/main" val="34361907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2BD8CE-C336-4EFB-AF71-4B3B1DAD0A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8CA4D5F-41C1-483F-A50C-7EEF736F735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3747A4-2EEC-434F-9908-9229880B99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1CC62D-F3D7-4234-8EE6-581CA843CC45}" type="datetimeFigureOut">
              <a:rPr lang="en-GB" smtClean="0"/>
              <a:t>18/06/2024</a:t>
            </a:fld>
            <a:endParaRPr lang="en-GB"/>
          </a:p>
        </p:txBody>
      </p:sp>
      <p:sp>
        <p:nvSpPr>
          <p:cNvPr id="5" name="Footer Placeholder 4">
            <a:extLst>
              <a:ext uri="{FF2B5EF4-FFF2-40B4-BE49-F238E27FC236}">
                <a16:creationId xmlns:a16="http://schemas.microsoft.com/office/drawing/2014/main" id="{E95BC70D-7C80-4A9A-8E51-00653C1471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1DF0BD7-7FF0-4B7B-AE07-C283FB8343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C3E0CE-A699-480E-A97E-BDD7CD475E63}" type="slidenum">
              <a:rPr lang="en-GB" smtClean="0"/>
              <a:t>‹#›</a:t>
            </a:fld>
            <a:endParaRPr lang="en-GB"/>
          </a:p>
        </p:txBody>
      </p:sp>
    </p:spTree>
    <p:extLst>
      <p:ext uri="{BB962C8B-B14F-4D97-AF65-F5344CB8AC3E}">
        <p14:creationId xmlns:p14="http://schemas.microsoft.com/office/powerpoint/2010/main" val="38588610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0D6F8A2C-E300-4512-3639-2884500528A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0C1472E4-499C-03C8-2422-DD59D45B3A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4212AEC-3C69-E11C-C0FF-DDA42F5E0B8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A9D3D9-F1DA-4F4B-9665-3674BC084898}" type="datetimeFigureOut">
              <a:rPr lang="nl-NL" smtClean="0"/>
              <a:t>18-6-2024</a:t>
            </a:fld>
            <a:endParaRPr lang="nl-NL"/>
          </a:p>
        </p:txBody>
      </p:sp>
      <p:sp>
        <p:nvSpPr>
          <p:cNvPr id="5" name="Tijdelijke aanduiding voor voettekst 4">
            <a:extLst>
              <a:ext uri="{FF2B5EF4-FFF2-40B4-BE49-F238E27FC236}">
                <a16:creationId xmlns:a16="http://schemas.microsoft.com/office/drawing/2014/main" id="{0F20B256-9F51-D56E-04FC-D7EE09DAFA0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FAF59554-57E1-29E1-9193-F0361731A0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6A43CF-AFDA-4502-89E9-0CC46068D5F6}" type="slidenum">
              <a:rPr lang="nl-NL" smtClean="0"/>
              <a:t>‹#›</a:t>
            </a:fld>
            <a:endParaRPr lang="nl-NL"/>
          </a:p>
        </p:txBody>
      </p:sp>
    </p:spTree>
    <p:extLst>
      <p:ext uri="{BB962C8B-B14F-4D97-AF65-F5344CB8AC3E}">
        <p14:creationId xmlns:p14="http://schemas.microsoft.com/office/powerpoint/2010/main" val="418874045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orcid.org/0000-0002-2231-7637"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hyperlink" Target="https://www.elsevier.com/icsr/icsrlab/how-to-apply" TargetMode="External"/><Relationship Id="rId3" Type="http://schemas.openxmlformats.org/officeDocument/2006/relationships/slideLayout" Target="../slideLayouts/slideLayout23.xml"/><Relationship Id="rId7" Type="http://schemas.openxmlformats.org/officeDocument/2006/relationships/image" Target="../media/image25.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jp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4">
            <a:extLst>
              <a:ext uri="{FF2B5EF4-FFF2-40B4-BE49-F238E27FC236}">
                <a16:creationId xmlns:a16="http://schemas.microsoft.com/office/drawing/2014/main" id="{362D44EE-C852-4460-B8B5-C4F2BC205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1C4A5F-CD33-3EF6-8393-0308EB6D59CB}"/>
              </a:ext>
            </a:extLst>
          </p:cNvPr>
          <p:cNvSpPr>
            <a:spLocks noGrp="1"/>
          </p:cNvSpPr>
          <p:nvPr>
            <p:ph type="ctrTitle"/>
          </p:nvPr>
        </p:nvSpPr>
        <p:spPr>
          <a:xfrm>
            <a:off x="6194716" y="739978"/>
            <a:ext cx="5334930" cy="3004145"/>
          </a:xfrm>
        </p:spPr>
        <p:txBody>
          <a:bodyPr vert="horz" lIns="91440" tIns="45720" rIns="91440" bIns="45720" rtlCol="0">
            <a:normAutofit/>
          </a:bodyPr>
          <a:lstStyle/>
          <a:p>
            <a:r>
              <a:rPr lang="en-US" kern="1200">
                <a:latin typeface="+mj-lt"/>
                <a:ea typeface="+mj-ea"/>
                <a:cs typeface="+mj-cs"/>
              </a:rPr>
              <a:t>Fake papers, paper mills and peer review</a:t>
            </a:r>
          </a:p>
        </p:txBody>
      </p:sp>
      <p:sp>
        <p:nvSpPr>
          <p:cNvPr id="4" name="Subtitle 3">
            <a:extLst>
              <a:ext uri="{FF2B5EF4-FFF2-40B4-BE49-F238E27FC236}">
                <a16:creationId xmlns:a16="http://schemas.microsoft.com/office/drawing/2014/main" id="{7A50A038-AC85-9105-D7CE-06052061B084}"/>
              </a:ext>
            </a:extLst>
          </p:cNvPr>
          <p:cNvSpPr>
            <a:spLocks noGrp="1"/>
          </p:cNvSpPr>
          <p:nvPr>
            <p:ph type="subTitle" idx="1"/>
          </p:nvPr>
        </p:nvSpPr>
        <p:spPr>
          <a:xfrm>
            <a:off x="6194715" y="3836197"/>
            <a:ext cx="5334931" cy="2189214"/>
          </a:xfrm>
        </p:spPr>
        <p:txBody>
          <a:bodyPr vert="horz" lIns="91440" tIns="45720" rIns="91440" bIns="45720" rtlCol="0">
            <a:normAutofit/>
          </a:bodyPr>
          <a:lstStyle/>
          <a:p>
            <a:r>
              <a:rPr lang="en-US" dirty="0"/>
              <a:t>Gerben ter Riet, MD PhD</a:t>
            </a:r>
          </a:p>
          <a:p>
            <a:r>
              <a:rPr lang="en-US" sz="2000" dirty="0"/>
              <a:t>for the EBM Masters 19 June 2024</a:t>
            </a:r>
          </a:p>
          <a:p>
            <a:r>
              <a:rPr lang="en-US" sz="2000" dirty="0">
                <a:hlinkClick r:id="rId3"/>
              </a:rPr>
              <a:t>https://orcid.org/0000-0002-2231-7637</a:t>
            </a:r>
            <a:r>
              <a:rPr lang="en-US" sz="2000" dirty="0"/>
              <a:t> </a:t>
            </a:r>
          </a:p>
          <a:p>
            <a:r>
              <a:rPr lang="en-US" sz="2000" i="1" dirty="0"/>
              <a:t>Big thank you to Lex Bouter and</a:t>
            </a:r>
          </a:p>
          <a:p>
            <a:r>
              <a:rPr lang="en-US" sz="2000" i="1" dirty="0"/>
              <a:t>Mario Malicki for sharing slides</a:t>
            </a:r>
          </a:p>
        </p:txBody>
      </p:sp>
      <p:sp>
        <p:nvSpPr>
          <p:cNvPr id="23" name="Freeform: Shape 26">
            <a:extLst>
              <a:ext uri="{FF2B5EF4-FFF2-40B4-BE49-F238E27FC236}">
                <a16:creationId xmlns:a16="http://schemas.microsoft.com/office/drawing/2014/main" id="{658970D8-8D1D-4B5C-894B-E871CC8654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30529" y="1"/>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Freeform: Shape 28">
            <a:extLst>
              <a:ext uri="{FF2B5EF4-FFF2-40B4-BE49-F238E27FC236}">
                <a16:creationId xmlns:a16="http://schemas.microsoft.com/office/drawing/2014/main" id="{F227E5B6-9132-43CA-B503-37A18562AD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349052" y="0"/>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endParaRPr lang="en-US"/>
          </a:p>
        </p:txBody>
      </p:sp>
      <p:sp>
        <p:nvSpPr>
          <p:cNvPr id="26" name="Freeform: Shape 30">
            <a:extLst>
              <a:ext uri="{FF2B5EF4-FFF2-40B4-BE49-F238E27FC236}">
                <a16:creationId xmlns:a16="http://schemas.microsoft.com/office/drawing/2014/main" id="{03C2051E-A88D-48E5-BACF-AAED178927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16245"/>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Freeform: Shape 32">
            <a:extLst>
              <a:ext uri="{FF2B5EF4-FFF2-40B4-BE49-F238E27FC236}">
                <a16:creationId xmlns:a16="http://schemas.microsoft.com/office/drawing/2014/main" id="{7821A508-2985-4905-874A-527429BAAB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0" name="Freeform: Shape 34">
            <a:extLst>
              <a:ext uri="{FF2B5EF4-FFF2-40B4-BE49-F238E27FC236}">
                <a16:creationId xmlns:a16="http://schemas.microsoft.com/office/drawing/2014/main" id="{D2929CB1-0E3C-4B2D-ADC5-0154FB33B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697761" y="5717906"/>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endParaRPr lang="en-US"/>
          </a:p>
        </p:txBody>
      </p:sp>
      <p:pic>
        <p:nvPicPr>
          <p:cNvPr id="5" name="Picture 4" descr="A drawing of a person's head with hands on their head&#10;&#10;Description automatically generated">
            <a:extLst>
              <a:ext uri="{FF2B5EF4-FFF2-40B4-BE49-F238E27FC236}">
                <a16:creationId xmlns:a16="http://schemas.microsoft.com/office/drawing/2014/main" id="{B6759AD8-65E7-0E42-E190-A1BE0EBC3C68}"/>
              </a:ext>
            </a:extLst>
          </p:cNvPr>
          <p:cNvPicPr>
            <a:picLocks noChangeAspect="1"/>
          </p:cNvPicPr>
          <p:nvPr/>
        </p:nvPicPr>
        <p:blipFill rotWithShape="1">
          <a:blip r:embed="rId4">
            <a:extLst>
              <a:ext uri="{28A0092B-C50C-407E-A947-70E740481C1C}">
                <a14:useLocalDpi xmlns:a14="http://schemas.microsoft.com/office/drawing/2010/main" val="0"/>
              </a:ext>
            </a:extLst>
          </a:blip>
          <a:srcRect t="8330" r="-2" b="11589"/>
          <a:stretch/>
        </p:blipFill>
        <p:spPr>
          <a:xfrm>
            <a:off x="631840" y="598720"/>
            <a:ext cx="5178249" cy="5178249"/>
          </a:xfrm>
          <a:custGeom>
            <a:avLst/>
            <a:gdLst/>
            <a:ahLst/>
            <a:cxnLst/>
            <a:rect l="l" t="t" r="r" b="b"/>
            <a:pathLst>
              <a:path w="3741748" h="3741748">
                <a:moveTo>
                  <a:pt x="1870874" y="0"/>
                </a:moveTo>
                <a:cubicBezTo>
                  <a:pt x="2904129" y="0"/>
                  <a:pt x="3741748" y="837619"/>
                  <a:pt x="3741748" y="1870874"/>
                </a:cubicBezTo>
                <a:cubicBezTo>
                  <a:pt x="3741748" y="2904129"/>
                  <a:pt x="2904129" y="3741748"/>
                  <a:pt x="1870874" y="3741748"/>
                </a:cubicBezTo>
                <a:cubicBezTo>
                  <a:pt x="837619" y="3741748"/>
                  <a:pt x="0" y="2904129"/>
                  <a:pt x="0" y="1870874"/>
                </a:cubicBezTo>
                <a:cubicBezTo>
                  <a:pt x="0" y="837619"/>
                  <a:pt x="837619" y="0"/>
                  <a:pt x="1870874" y="0"/>
                </a:cubicBezTo>
                <a:close/>
              </a:path>
            </a:pathLst>
          </a:custGeom>
        </p:spPr>
      </p:pic>
      <p:sp>
        <p:nvSpPr>
          <p:cNvPr id="32" name="Freeform: Shape 36">
            <a:extLst>
              <a:ext uri="{FF2B5EF4-FFF2-40B4-BE49-F238E27FC236}">
                <a16:creationId xmlns:a16="http://schemas.microsoft.com/office/drawing/2014/main" id="{5F2F0C84-BE8C-4DC2-A6D3-30349A801D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520513" y="6258756"/>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Box 2">
            <a:extLst>
              <a:ext uri="{FF2B5EF4-FFF2-40B4-BE49-F238E27FC236}">
                <a16:creationId xmlns:a16="http://schemas.microsoft.com/office/drawing/2014/main" id="{6CF19368-443D-2AFD-6BC5-61D4642F74B6}"/>
              </a:ext>
            </a:extLst>
          </p:cNvPr>
          <p:cNvSpPr txBox="1"/>
          <p:nvPr/>
        </p:nvSpPr>
        <p:spPr>
          <a:xfrm>
            <a:off x="6194715" y="6502400"/>
            <a:ext cx="5060307" cy="369332"/>
          </a:xfrm>
          <a:prstGeom prst="rect">
            <a:avLst/>
          </a:prstGeom>
          <a:noFill/>
        </p:spPr>
        <p:txBody>
          <a:bodyPr wrap="square" rtlCol="0">
            <a:spAutoFit/>
          </a:bodyPr>
          <a:lstStyle/>
          <a:p>
            <a:r>
              <a:rPr lang="en-US" dirty="0"/>
              <a:t>Slides are at https://www.researchequals.com/</a:t>
            </a:r>
            <a:endParaRPr lang="nl-NL" dirty="0"/>
          </a:p>
        </p:txBody>
      </p:sp>
    </p:spTree>
    <p:extLst>
      <p:ext uri="{BB962C8B-B14F-4D97-AF65-F5344CB8AC3E}">
        <p14:creationId xmlns:p14="http://schemas.microsoft.com/office/powerpoint/2010/main" val="1749880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6B82-1E3A-455E-A725-840EFC775B8A}"/>
              </a:ext>
            </a:extLst>
          </p:cNvPr>
          <p:cNvSpPr>
            <a:spLocks noGrp="1"/>
          </p:cNvSpPr>
          <p:nvPr>
            <p:ph type="title"/>
          </p:nvPr>
        </p:nvSpPr>
        <p:spPr/>
        <p:txBody>
          <a:bodyPr>
            <a:normAutofit/>
          </a:bodyPr>
          <a:lstStyle/>
          <a:p>
            <a:pPr algn="ctr"/>
            <a:r>
              <a:rPr lang="en-GB" sz="4000" b="1" dirty="0">
                <a:solidFill>
                  <a:srgbClr val="00B0F0"/>
                </a:solidFill>
                <a:latin typeface="Times New Roman" panose="02020603050405020304" pitchFamily="18" charset="0"/>
                <a:cs typeface="Times New Roman" panose="02020603050405020304" pitchFamily="18" charset="0"/>
              </a:rPr>
              <a:t>Questionable practices “caused” by peer review</a:t>
            </a:r>
          </a:p>
        </p:txBody>
      </p:sp>
      <p:sp>
        <p:nvSpPr>
          <p:cNvPr id="3" name="Content Placeholder 2">
            <a:extLst>
              <a:ext uri="{FF2B5EF4-FFF2-40B4-BE49-F238E27FC236}">
                <a16:creationId xmlns:a16="http://schemas.microsoft.com/office/drawing/2014/main" id="{39FB609B-B59E-414E-8ADC-D905371BD583}"/>
              </a:ext>
            </a:extLst>
          </p:cNvPr>
          <p:cNvSpPr>
            <a:spLocks noGrp="1"/>
          </p:cNvSpPr>
          <p:nvPr>
            <p:ph idx="1"/>
          </p:nvPr>
        </p:nvSpPr>
        <p:spPr>
          <a:xfrm>
            <a:off x="950167" y="2357470"/>
            <a:ext cx="10515600" cy="3063616"/>
          </a:xfrm>
        </p:spPr>
        <p:txBody>
          <a:bodyPr>
            <a:normAutofit/>
          </a:bodyPr>
          <a:lstStyle/>
          <a:p>
            <a:r>
              <a:rPr lang="en-GB" sz="2400" dirty="0">
                <a:latin typeface="Times New Roman" panose="02020603050405020304" pitchFamily="18" charset="0"/>
                <a:cs typeface="Times New Roman" panose="02020603050405020304" pitchFamily="18" charset="0"/>
              </a:rPr>
              <a:t>Fake peer reviews – ppl reviewing their own papers</a:t>
            </a:r>
          </a:p>
          <a:p>
            <a:r>
              <a:rPr lang="en-GB" sz="2400" dirty="0">
                <a:latin typeface="Times New Roman" panose="02020603050405020304" pitchFamily="18" charset="0"/>
                <a:cs typeface="Times New Roman" panose="02020603050405020304" pitchFamily="18" charset="0"/>
              </a:rPr>
              <a:t>Reviewers or Editors forcing authors to cite their own papers</a:t>
            </a:r>
          </a:p>
          <a:p>
            <a:r>
              <a:rPr lang="en-GB" sz="2400" dirty="0">
                <a:latin typeface="Times New Roman" panose="02020603050405020304" pitchFamily="18" charset="0"/>
                <a:cs typeface="Times New Roman" panose="02020603050405020304" pitchFamily="18" charset="0"/>
              </a:rPr>
              <a:t>Journals organizing to cite each other to boost their impact</a:t>
            </a:r>
          </a:p>
          <a:p>
            <a:r>
              <a:rPr lang="en-GB" sz="2400" dirty="0">
                <a:latin typeface="Times New Roman" panose="02020603050405020304" pitchFamily="18" charset="0"/>
                <a:cs typeface="Times New Roman" panose="02020603050405020304" pitchFamily="18" charset="0"/>
              </a:rPr>
              <a:t>Editors boosting their journals by citing the Journal’s papers in their own papers</a:t>
            </a:r>
          </a:p>
          <a:p>
            <a:r>
              <a:rPr lang="en-GB" sz="2400" dirty="0">
                <a:latin typeface="Times New Roman" panose="02020603050405020304" pitchFamily="18" charset="0"/>
                <a:cs typeface="Times New Roman" panose="02020603050405020304" pitchFamily="18" charset="0"/>
              </a:rPr>
              <a:t>Delaying or rejecting publications to steal ideas or publish first</a:t>
            </a:r>
          </a:p>
          <a:p>
            <a:r>
              <a:rPr lang="en-GB" sz="2400" dirty="0">
                <a:latin typeface="Times New Roman" panose="02020603050405020304" pitchFamily="18" charset="0"/>
                <a:cs typeface="Times New Roman" panose="02020603050405020304" pitchFamily="18" charset="0"/>
              </a:rPr>
              <a:t>Offensive comments  </a:t>
            </a:r>
          </a:p>
          <a:p>
            <a:pPr marL="0" indent="0" algn="ctr">
              <a:buNone/>
            </a:pPr>
            <a:endParaRPr lang="en-GB" sz="2400" dirty="0">
              <a:latin typeface="Times New Roman" panose="02020603050405020304" pitchFamily="18" charset="0"/>
              <a:cs typeface="Times New Roman" panose="02020603050405020304" pitchFamily="18" charset="0"/>
            </a:endParaRPr>
          </a:p>
          <a:p>
            <a:pPr marL="0" indent="0" algn="ctr">
              <a:buNone/>
            </a:pPr>
            <a:endParaRPr lang="en-GB"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487873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0969F-0BFC-47B2-8846-3339795440D7}"/>
              </a:ext>
            </a:extLst>
          </p:cNvPr>
          <p:cNvSpPr>
            <a:spLocks noGrp="1"/>
          </p:cNvSpPr>
          <p:nvPr>
            <p:ph type="title"/>
          </p:nvPr>
        </p:nvSpPr>
        <p:spPr/>
        <p:txBody>
          <a:bodyPr/>
          <a:lstStyle/>
          <a:p>
            <a:pPr algn="ctr"/>
            <a:r>
              <a:rPr lang="en-GB" b="1" dirty="0">
                <a:solidFill>
                  <a:srgbClr val="00B0F0"/>
                </a:solidFill>
              </a:rPr>
              <a:t>Steps towards the Future</a:t>
            </a:r>
          </a:p>
        </p:txBody>
      </p:sp>
      <p:pic>
        <p:nvPicPr>
          <p:cNvPr id="11" name="Content Placeholder 10">
            <a:extLst>
              <a:ext uri="{FF2B5EF4-FFF2-40B4-BE49-F238E27FC236}">
                <a16:creationId xmlns:a16="http://schemas.microsoft.com/office/drawing/2014/main" id="{89B76F24-2ADE-4B56-918D-44024EC891C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8200" y="3866743"/>
            <a:ext cx="9724842" cy="2427752"/>
          </a:xfrm>
        </p:spPr>
      </p:pic>
      <p:sp>
        <p:nvSpPr>
          <p:cNvPr id="3" name="TextBox 2">
            <a:extLst>
              <a:ext uri="{FF2B5EF4-FFF2-40B4-BE49-F238E27FC236}">
                <a16:creationId xmlns:a16="http://schemas.microsoft.com/office/drawing/2014/main" id="{51371083-A0CC-F671-F59C-AEBC51C8DD6C}"/>
              </a:ext>
            </a:extLst>
          </p:cNvPr>
          <p:cNvSpPr txBox="1"/>
          <p:nvPr/>
        </p:nvSpPr>
        <p:spPr>
          <a:xfrm>
            <a:off x="699796" y="1690688"/>
            <a:ext cx="10421314" cy="1569660"/>
          </a:xfrm>
          <a:prstGeom prst="rect">
            <a:avLst/>
          </a:prstGeom>
          <a:noFill/>
        </p:spPr>
        <p:txBody>
          <a:bodyPr wrap="none" rtlCol="0">
            <a:spAutoFit/>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1" i="0" u="none" strike="noStrike" kern="1200" cap="none" spc="0" normalizeH="0" baseline="0" noProof="0" dirty="0">
                <a:ln>
                  <a:noFill/>
                </a:ln>
                <a:solidFill>
                  <a:srgbClr val="FF0000"/>
                </a:solidFill>
                <a:effectLst/>
                <a:uLnTx/>
                <a:uFillTx/>
                <a:latin typeface="Calibri" panose="020F0502020204030204"/>
                <a:ea typeface="+mn-ea"/>
                <a:cs typeface="+mn-cs"/>
              </a:rPr>
              <a:t>Publish </a:t>
            </a:r>
            <a:r>
              <a:rPr lang="en-GB" sz="2400" b="1" dirty="0">
                <a:solidFill>
                  <a:srgbClr val="FF0000"/>
                </a:solidFill>
                <a:latin typeface="Calibri" panose="020F0502020204030204"/>
              </a:rPr>
              <a:t>s</a:t>
            </a:r>
            <a:r>
              <a:rPr kumimoji="0" lang="en-GB" sz="2400" b="1" i="0" u="none" strike="noStrike" kern="1200" cap="none" spc="0" normalizeH="0" baseline="0" noProof="0" dirty="0" err="1">
                <a:ln>
                  <a:noFill/>
                </a:ln>
                <a:solidFill>
                  <a:srgbClr val="FF0000"/>
                </a:solidFill>
                <a:effectLst/>
                <a:uLnTx/>
                <a:uFillTx/>
                <a:latin typeface="Calibri" panose="020F0502020204030204"/>
                <a:ea typeface="+mn-ea"/>
                <a:cs typeface="+mn-cs"/>
              </a:rPr>
              <a:t>ubmitted</a:t>
            </a:r>
            <a:r>
              <a:rPr kumimoji="0" lang="en-GB" sz="2400" b="1" i="0" u="none" strike="noStrike" kern="1200" cap="none" spc="0" normalizeH="0" baseline="0" noProof="0" dirty="0">
                <a:ln>
                  <a:noFill/>
                </a:ln>
                <a:solidFill>
                  <a:srgbClr val="FF0000"/>
                </a:solidFill>
                <a:effectLst/>
                <a:uLnTx/>
                <a:uFillTx/>
                <a:latin typeface="Calibri" panose="020F0502020204030204"/>
                <a:ea typeface="+mn-ea"/>
                <a:cs typeface="+mn-cs"/>
              </a:rPr>
              <a:t> manuscripts / preprints</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1" i="0" u="none" strike="noStrike" kern="1200" cap="none" spc="0" normalizeH="0" baseline="0" noProof="0" dirty="0">
                <a:ln>
                  <a:noFill/>
                </a:ln>
                <a:solidFill>
                  <a:srgbClr val="FFC000"/>
                </a:solidFill>
                <a:effectLst/>
                <a:uLnTx/>
                <a:uFillTx/>
                <a:latin typeface="Calibri" panose="020F0502020204030204"/>
                <a:ea typeface="+mn-ea"/>
                <a:cs typeface="+mn-cs"/>
              </a:rPr>
              <a:t>Switch to Open Peer Review </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1" i="0" u="none" strike="noStrike" kern="1200" cap="none" spc="0" normalizeH="0" baseline="0" noProof="0" dirty="0">
                <a:ln>
                  <a:noFill/>
                </a:ln>
                <a:solidFill>
                  <a:srgbClr val="ED7D31"/>
                </a:solidFill>
                <a:effectLst/>
                <a:uLnTx/>
                <a:uFillTx/>
                <a:latin typeface="Calibri" panose="020F0502020204030204"/>
                <a:ea typeface="+mn-ea"/>
                <a:cs typeface="+mn-cs"/>
              </a:rPr>
              <a:t>Journals/Publisher should share review reports / </a:t>
            </a:r>
            <a:r>
              <a:rPr lang="en-GB" sz="2400" b="1" dirty="0">
                <a:solidFill>
                  <a:srgbClr val="ED7D31"/>
                </a:solidFill>
                <a:latin typeface="Calibri" panose="020F0502020204030204"/>
              </a:rPr>
              <a:t>m</a:t>
            </a:r>
            <a:r>
              <a:rPr kumimoji="0" lang="en-GB" sz="2400" b="1" i="0" u="none" strike="noStrike" kern="1200" cap="none" spc="0" normalizeH="0" baseline="0" noProof="0" dirty="0" err="1">
                <a:ln>
                  <a:noFill/>
                </a:ln>
                <a:solidFill>
                  <a:srgbClr val="ED7D31"/>
                </a:solidFill>
                <a:effectLst/>
                <a:uLnTx/>
                <a:uFillTx/>
                <a:latin typeface="Calibri" panose="020F0502020204030204"/>
                <a:ea typeface="+mn-ea"/>
                <a:cs typeface="+mn-cs"/>
              </a:rPr>
              <a:t>etadata</a:t>
            </a:r>
            <a:r>
              <a:rPr kumimoji="0" lang="en-GB" sz="2400" b="1" i="0" u="none" strike="noStrike" kern="1200" cap="none" spc="0" normalizeH="0" baseline="0" noProof="0" dirty="0">
                <a:ln>
                  <a:noFill/>
                </a:ln>
                <a:solidFill>
                  <a:srgbClr val="ED7D31"/>
                </a:solidFill>
                <a:effectLst/>
                <a:uLnTx/>
                <a:uFillTx/>
                <a:latin typeface="Calibri" panose="020F0502020204030204"/>
                <a:ea typeface="+mn-ea"/>
                <a:cs typeface="+mn-cs"/>
              </a:rPr>
              <a:t> with researchers</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1" i="0" u="none" strike="noStrike" kern="1200" cap="none" spc="0" normalizeH="0" baseline="0" noProof="0" dirty="0">
                <a:ln>
                  <a:noFill/>
                </a:ln>
                <a:solidFill>
                  <a:srgbClr val="70AD47"/>
                </a:solidFill>
                <a:effectLst/>
                <a:uLnTx/>
                <a:uFillTx/>
                <a:latin typeface="Calibri" panose="020F0502020204030204"/>
                <a:ea typeface="+mn-ea"/>
                <a:cs typeface="+mn-cs"/>
              </a:rPr>
              <a:t>Journals should switch to structured peer </a:t>
            </a:r>
            <a:r>
              <a:rPr lang="en-GB" sz="2400" b="1" dirty="0">
                <a:solidFill>
                  <a:srgbClr val="70AD47"/>
                </a:solidFill>
                <a:latin typeface="Calibri" panose="020F0502020204030204"/>
              </a:rPr>
              <a:t>r</a:t>
            </a:r>
            <a:r>
              <a:rPr kumimoji="0" lang="en-GB" sz="2400" b="1" i="0" u="none" strike="noStrike" kern="1200" cap="none" spc="0" normalizeH="0" baseline="0" noProof="0" dirty="0" err="1">
                <a:ln>
                  <a:noFill/>
                </a:ln>
                <a:solidFill>
                  <a:srgbClr val="70AD47"/>
                </a:solidFill>
                <a:effectLst/>
                <a:uLnTx/>
                <a:uFillTx/>
                <a:latin typeface="Calibri" panose="020F0502020204030204"/>
                <a:ea typeface="+mn-ea"/>
                <a:cs typeface="+mn-cs"/>
              </a:rPr>
              <a:t>eview</a:t>
            </a:r>
            <a:endParaRPr kumimoji="0" lang="en-GB" sz="2400" b="1" i="0" u="none" strike="noStrike" kern="1200" cap="none" spc="0" normalizeH="0" baseline="0" noProof="0" dirty="0">
              <a:ln>
                <a:noFill/>
              </a:ln>
              <a:solidFill>
                <a:srgbClr val="70AD4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2137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8AC20-C775-5A56-21EB-8DD667C802D4}"/>
              </a:ext>
            </a:extLst>
          </p:cNvPr>
          <p:cNvSpPr>
            <a:spLocks noGrp="1"/>
          </p:cNvSpPr>
          <p:nvPr>
            <p:ph type="title"/>
          </p:nvPr>
        </p:nvSpPr>
        <p:spPr>
          <a:xfrm>
            <a:off x="838200" y="-75146"/>
            <a:ext cx="10515600" cy="1325563"/>
          </a:xfrm>
        </p:spPr>
        <p:txBody>
          <a:bodyPr>
            <a:normAutofit/>
          </a:bodyPr>
          <a:lstStyle/>
          <a:p>
            <a:r>
              <a:rPr lang="en-US" sz="3600" dirty="0"/>
              <a:t>Structured peer review</a:t>
            </a:r>
            <a:endParaRPr lang="nl-NL" sz="3600" dirty="0"/>
          </a:p>
        </p:txBody>
      </p:sp>
      <p:graphicFrame>
        <p:nvGraphicFramePr>
          <p:cNvPr id="4" name="Content Placeholder 3">
            <a:extLst>
              <a:ext uri="{FF2B5EF4-FFF2-40B4-BE49-F238E27FC236}">
                <a16:creationId xmlns:a16="http://schemas.microsoft.com/office/drawing/2014/main" id="{2C76AFCC-E0B5-4A2A-E79F-928623B71FA3}"/>
              </a:ext>
            </a:extLst>
          </p:cNvPr>
          <p:cNvGraphicFramePr>
            <a:graphicFrameLocks noGrp="1"/>
          </p:cNvGraphicFramePr>
          <p:nvPr>
            <p:ph idx="1"/>
            <p:extLst>
              <p:ext uri="{D42A27DB-BD31-4B8C-83A1-F6EECF244321}">
                <p14:modId xmlns:p14="http://schemas.microsoft.com/office/powerpoint/2010/main" val="4066326492"/>
              </p:ext>
            </p:extLst>
          </p:nvPr>
        </p:nvGraphicFramePr>
        <p:xfrm>
          <a:off x="838200" y="787373"/>
          <a:ext cx="10515600" cy="5913120"/>
        </p:xfrm>
        <a:graphic>
          <a:graphicData uri="http://schemas.openxmlformats.org/drawingml/2006/table">
            <a:tbl>
              <a:tblPr>
                <a:tableStyleId>{7DF18680-E054-41AD-8BC1-D1AEF772440D}</a:tableStyleId>
              </a:tblPr>
              <a:tblGrid>
                <a:gridCol w="10515600">
                  <a:extLst>
                    <a:ext uri="{9D8B030D-6E8A-4147-A177-3AD203B41FA5}">
                      <a16:colId xmlns:a16="http://schemas.microsoft.com/office/drawing/2014/main" val="3281004115"/>
                    </a:ext>
                  </a:extLst>
                </a:gridCol>
              </a:tblGrid>
              <a:tr h="389634">
                <a:tc>
                  <a:txBody>
                    <a:bodyPr/>
                    <a:lstStyle/>
                    <a:p>
                      <a:pPr marL="0" marR="0">
                        <a:spcBef>
                          <a:spcPts val="0"/>
                        </a:spcBef>
                        <a:spcAft>
                          <a:spcPts val="0"/>
                        </a:spcAft>
                      </a:pPr>
                      <a:r>
                        <a:rPr lang="en-US" sz="1800" b="1" dirty="0">
                          <a:effectLst/>
                        </a:rPr>
                        <a:t>Introduction</a:t>
                      </a:r>
                      <a:endParaRPr lang="en-US" sz="1800" b="1"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2667528858"/>
                  </a:ext>
                </a:extLst>
              </a:tr>
              <a:tr h="389634">
                <a:tc>
                  <a:txBody>
                    <a:bodyPr/>
                    <a:lstStyle/>
                    <a:p>
                      <a:pPr marL="0" marR="0" lvl="0" indent="0">
                        <a:spcBef>
                          <a:spcPts val="0"/>
                        </a:spcBef>
                        <a:spcAft>
                          <a:spcPts val="0"/>
                        </a:spcAft>
                        <a:buFont typeface="+mj-lt"/>
                        <a:buNone/>
                      </a:pPr>
                      <a:r>
                        <a:rPr lang="en-US" sz="1800" dirty="0">
                          <a:effectLst/>
                        </a:rPr>
                        <a:t>1. Is the background and literature section up to date and appropriate for the topic?</a:t>
                      </a:r>
                      <a:endParaRPr lang="en-US" sz="1800"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970939261"/>
                  </a:ext>
                </a:extLst>
              </a:tr>
              <a:tr h="389634">
                <a:tc>
                  <a:txBody>
                    <a:bodyPr/>
                    <a:lstStyle/>
                    <a:p>
                      <a:pPr marL="0" marR="0" lvl="0" indent="0">
                        <a:spcBef>
                          <a:spcPts val="0"/>
                        </a:spcBef>
                        <a:spcAft>
                          <a:spcPts val="0"/>
                        </a:spcAft>
                        <a:buFont typeface="+mj-lt"/>
                        <a:buNone/>
                      </a:pPr>
                      <a:r>
                        <a:rPr lang="en-US" sz="1800" dirty="0">
                          <a:effectLst/>
                        </a:rPr>
                        <a:t>2. Are the primary (and secondary) objectives clearly stated at the end of the introduction?</a:t>
                      </a:r>
                      <a:endParaRPr lang="en-US" sz="1800"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913802999"/>
                  </a:ext>
                </a:extLst>
              </a:tr>
              <a:tr h="389634">
                <a:tc>
                  <a:txBody>
                    <a:bodyPr/>
                    <a:lstStyle/>
                    <a:p>
                      <a:pPr marL="0" marR="0">
                        <a:spcBef>
                          <a:spcPts val="0"/>
                        </a:spcBef>
                        <a:spcAft>
                          <a:spcPts val="0"/>
                        </a:spcAft>
                      </a:pPr>
                      <a:r>
                        <a:rPr lang="en-US" sz="1800" b="1" dirty="0">
                          <a:effectLst/>
                        </a:rPr>
                        <a:t>Methods</a:t>
                      </a:r>
                      <a:endParaRPr lang="en-US" sz="1800" b="1"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799336540"/>
                  </a:ext>
                </a:extLst>
              </a:tr>
              <a:tr h="655966">
                <a:tc>
                  <a:txBody>
                    <a:bodyPr/>
                    <a:lstStyle/>
                    <a:p>
                      <a:pPr marL="0" marR="0" lvl="0" indent="0">
                        <a:spcBef>
                          <a:spcPts val="0"/>
                        </a:spcBef>
                        <a:spcAft>
                          <a:spcPts val="0"/>
                        </a:spcAft>
                        <a:buFont typeface="+mj-lt"/>
                        <a:buNone/>
                      </a:pPr>
                      <a:r>
                        <a:rPr lang="en-US" sz="1800">
                          <a:effectLst/>
                        </a:rPr>
                        <a:t>3. Are the study methods (including theory/applicability/modeling) reported in sufficient detail to allow for their replicability or reproducibility?</a:t>
                      </a:r>
                      <a:endParaRPr lang="en-US" sz="1800"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1996578608"/>
                  </a:ext>
                </a:extLst>
              </a:tr>
              <a:tr h="655966">
                <a:tc>
                  <a:txBody>
                    <a:bodyPr/>
                    <a:lstStyle/>
                    <a:p>
                      <a:pPr marL="0" marR="0" lvl="0" indent="0">
                        <a:spcBef>
                          <a:spcPts val="0"/>
                        </a:spcBef>
                        <a:spcAft>
                          <a:spcPts val="0"/>
                        </a:spcAft>
                        <a:buFont typeface="+mj-lt"/>
                        <a:buNone/>
                      </a:pPr>
                      <a:r>
                        <a:rPr lang="en-US" sz="1800" dirty="0">
                          <a:effectLst/>
                        </a:rPr>
                        <a:t>4. Are statistical analyses, controls, sampling mechanism, and statistical reporting (e.g., P-values, CIs, effect sizes) appropriate and well described?</a:t>
                      </a:r>
                      <a:endParaRPr lang="en-US" sz="1800"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3730114272"/>
                  </a:ext>
                </a:extLst>
              </a:tr>
              <a:tr h="389634">
                <a:tc>
                  <a:txBody>
                    <a:bodyPr/>
                    <a:lstStyle/>
                    <a:p>
                      <a:pPr marL="0" marR="0">
                        <a:spcBef>
                          <a:spcPts val="0"/>
                        </a:spcBef>
                        <a:spcAft>
                          <a:spcPts val="0"/>
                        </a:spcAft>
                      </a:pPr>
                      <a:r>
                        <a:rPr lang="en-US" sz="1800" b="1" dirty="0">
                          <a:effectLst/>
                        </a:rPr>
                        <a:t>Results</a:t>
                      </a:r>
                      <a:endParaRPr lang="en-US" sz="1800" b="1"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1208597181"/>
                  </a:ext>
                </a:extLst>
              </a:tr>
              <a:tr h="655966">
                <a:tc>
                  <a:txBody>
                    <a:bodyPr/>
                    <a:lstStyle/>
                    <a:p>
                      <a:pPr marL="0" marR="0" lvl="0" indent="0">
                        <a:spcBef>
                          <a:spcPts val="0"/>
                        </a:spcBef>
                        <a:spcAft>
                          <a:spcPts val="0"/>
                        </a:spcAft>
                        <a:buFont typeface="+mj-lt"/>
                        <a:buNone/>
                      </a:pPr>
                      <a:r>
                        <a:rPr lang="en-US" sz="1800">
                          <a:effectLst/>
                        </a:rPr>
                        <a:t>5. Is the results presentation, including the number of tables and figures, appropriate to best present the study findings?</a:t>
                      </a:r>
                      <a:endParaRPr lang="en-US" sz="1800"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3680526573"/>
                  </a:ext>
                </a:extLst>
              </a:tr>
              <a:tr h="655966">
                <a:tc>
                  <a:txBody>
                    <a:bodyPr/>
                    <a:lstStyle/>
                    <a:p>
                      <a:pPr marL="0" marR="0" lvl="0" indent="0">
                        <a:spcBef>
                          <a:spcPts val="0"/>
                        </a:spcBef>
                        <a:spcAft>
                          <a:spcPts val="0"/>
                        </a:spcAft>
                        <a:buFont typeface="+mj-lt"/>
                        <a:buNone/>
                      </a:pPr>
                      <a:r>
                        <a:rPr lang="en-US" sz="1800" dirty="0">
                          <a:effectLst/>
                        </a:rPr>
                        <a:t>6. Are additional sub-analyses or statistical measures needed (e.g., reporting of CIs, effect sizes, sensitivity analyses)?</a:t>
                      </a:r>
                      <a:endParaRPr lang="en-US" sz="1800"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3581231281"/>
                  </a:ext>
                </a:extLst>
              </a:tr>
              <a:tr h="389634">
                <a:tc>
                  <a:txBody>
                    <a:bodyPr/>
                    <a:lstStyle/>
                    <a:p>
                      <a:pPr marL="0" marR="0">
                        <a:spcBef>
                          <a:spcPts val="0"/>
                        </a:spcBef>
                        <a:spcAft>
                          <a:spcPts val="0"/>
                        </a:spcAft>
                      </a:pPr>
                      <a:r>
                        <a:rPr lang="en-US" sz="1800" b="1" dirty="0">
                          <a:effectLst/>
                        </a:rPr>
                        <a:t>Discussion</a:t>
                      </a:r>
                      <a:endParaRPr lang="en-US" sz="1800" b="1"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1054419558"/>
                  </a:ext>
                </a:extLst>
              </a:tr>
              <a:tr h="389634">
                <a:tc>
                  <a:txBody>
                    <a:bodyPr/>
                    <a:lstStyle/>
                    <a:p>
                      <a:pPr marL="0" marR="0" lvl="0" indent="0">
                        <a:spcBef>
                          <a:spcPts val="0"/>
                        </a:spcBef>
                        <a:spcAft>
                          <a:spcPts val="0"/>
                        </a:spcAft>
                        <a:buFont typeface="+mj-lt"/>
                        <a:buNone/>
                      </a:pPr>
                      <a:r>
                        <a:rPr lang="en-US" sz="1800" dirty="0">
                          <a:effectLst/>
                        </a:rPr>
                        <a:t>7. Is the interpretation of results and study conclusions supported by the data and the study design?</a:t>
                      </a:r>
                      <a:endParaRPr lang="en-US" sz="1800"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2084758732"/>
                  </a:ext>
                </a:extLst>
              </a:tr>
              <a:tr h="389634">
                <a:tc>
                  <a:txBody>
                    <a:bodyPr/>
                    <a:lstStyle/>
                    <a:p>
                      <a:pPr marL="0" marR="0" lvl="0" indent="0">
                        <a:spcBef>
                          <a:spcPts val="0"/>
                        </a:spcBef>
                        <a:spcAft>
                          <a:spcPts val="0"/>
                        </a:spcAft>
                        <a:buFont typeface="+mj-lt"/>
                        <a:buNone/>
                      </a:pPr>
                      <a:r>
                        <a:rPr lang="en-US" sz="1800" dirty="0">
                          <a:effectLst/>
                        </a:rPr>
                        <a:t>8. Have the authors clearly emphasized the limitations of their study/theory/methods/argument?</a:t>
                      </a:r>
                      <a:endParaRPr lang="en-US" sz="1800" dirty="0">
                        <a:effectLst/>
                        <a:latin typeface="Times New Roman" panose="02020603050405020304" pitchFamily="18" charset="0"/>
                        <a:ea typeface="Calibri" panose="020F0502020204030204" pitchFamily="34" charset="0"/>
                      </a:endParaRPr>
                    </a:p>
                  </a:txBody>
                  <a:tcPr marL="63500" marR="63500" marT="63500" marB="63500"/>
                </a:tc>
                <a:extLst>
                  <a:ext uri="{0D108BD9-81ED-4DB2-BD59-A6C34878D82A}">
                    <a16:rowId xmlns:a16="http://schemas.microsoft.com/office/drawing/2014/main" val="3456668482"/>
                  </a:ext>
                </a:extLst>
              </a:tr>
            </a:tbl>
          </a:graphicData>
        </a:graphic>
      </p:graphicFrame>
    </p:spTree>
    <p:extLst>
      <p:ext uri="{BB962C8B-B14F-4D97-AF65-F5344CB8AC3E}">
        <p14:creationId xmlns:p14="http://schemas.microsoft.com/office/powerpoint/2010/main" val="11298496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D55A19D-297C-4231-AD1F-08EF9B4AA8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EBAB6C56-3D38-4923-996E-BD474BBB91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4600" y="662169"/>
            <a:ext cx="10289033" cy="5694181"/>
          </a:xfrm>
          <a:prstGeom prst="rect">
            <a:avLst/>
          </a:pr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20CD21DB-082D-417D-A5AB-FC838AF9D9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4600" y="662169"/>
            <a:ext cx="10289033" cy="5694181"/>
          </a:xfrm>
          <a:prstGeom prst="rect">
            <a:avLst/>
          </a:prstGeom>
          <a:solidFill>
            <a:schemeClr val="accent6">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Text&#10;&#10;Description automatically generated">
            <a:extLst>
              <a:ext uri="{FF2B5EF4-FFF2-40B4-BE49-F238E27FC236}">
                <a16:creationId xmlns:a16="http://schemas.microsoft.com/office/drawing/2014/main" id="{C71B906E-2BCE-4632-960E-7B110CE43474}"/>
              </a:ext>
            </a:extLst>
          </p:cNvPr>
          <p:cNvPicPr>
            <a:picLocks noChangeAspect="1"/>
          </p:cNvPicPr>
          <p:nvPr/>
        </p:nvPicPr>
        <p:blipFill rotWithShape="1">
          <a:blip r:embed="rId3">
            <a:extLst>
              <a:ext uri="{28A0092B-C50C-407E-A947-70E740481C1C}">
                <a14:useLocalDpi xmlns:a14="http://schemas.microsoft.com/office/drawing/2010/main" val="0"/>
              </a:ext>
            </a:extLst>
          </a:blip>
          <a:srcRect t="21829" r="-1" b="3171"/>
          <a:stretch/>
        </p:blipFill>
        <p:spPr>
          <a:xfrm>
            <a:off x="838200" y="233807"/>
            <a:ext cx="10468866" cy="5888737"/>
          </a:xfrm>
          <a:prstGeom prst="rect">
            <a:avLst/>
          </a:prstGeom>
          <a:ln w="28575">
            <a:solidFill>
              <a:schemeClr val="bg1"/>
            </a:solidFill>
          </a:ln>
        </p:spPr>
      </p:pic>
      <p:sp>
        <p:nvSpPr>
          <p:cNvPr id="2" name="Rectangle 1">
            <a:extLst>
              <a:ext uri="{FF2B5EF4-FFF2-40B4-BE49-F238E27FC236}">
                <a16:creationId xmlns:a16="http://schemas.microsoft.com/office/drawing/2014/main" id="{5E71E002-CB89-2F9D-BD24-0D0993F2E49E}"/>
              </a:ext>
            </a:extLst>
          </p:cNvPr>
          <p:cNvSpPr/>
          <p:nvPr/>
        </p:nvSpPr>
        <p:spPr>
          <a:xfrm>
            <a:off x="1221233" y="5379929"/>
            <a:ext cx="9702800" cy="1110343"/>
          </a:xfrm>
          <a:prstGeom prst="rect">
            <a:avLst/>
          </a:prstGeom>
          <a:solidFill>
            <a:schemeClr val="tx1">
              <a:lumMod val="65000"/>
              <a:lumOff val="3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4000" b="0" i="0" u="none" strike="noStrike" kern="1200" cap="none" spc="0" normalizeH="0" baseline="0" noProof="0" dirty="0">
                <a:ln>
                  <a:noFill/>
                </a:ln>
                <a:solidFill>
                  <a:prstClr val="white"/>
                </a:solidFill>
                <a:effectLst/>
                <a:uLnTx/>
                <a:uFillTx/>
                <a:latin typeface="Calibri" panose="020F0502020204030204"/>
                <a:ea typeface="+mn-ea"/>
                <a:cs typeface="+mn-cs"/>
              </a:rPr>
              <a:t>Download slides </a:t>
            </a:r>
            <a:r>
              <a:rPr kumimoji="0" lang="nl-NL" sz="4000" b="0" i="0" u="none" strike="noStrike" kern="1200" cap="none" spc="0" normalizeH="0" baseline="0" noProof="0" dirty="0" err="1">
                <a:ln>
                  <a:noFill/>
                </a:ln>
                <a:solidFill>
                  <a:prstClr val="white"/>
                </a:solidFill>
                <a:effectLst/>
                <a:uLnTx/>
                <a:uFillTx/>
                <a:latin typeface="Calibri" panose="020F0502020204030204"/>
                <a:ea typeface="+mn-ea"/>
                <a:cs typeface="+mn-cs"/>
              </a:rPr>
              <a:t>from</a:t>
            </a:r>
            <a:r>
              <a:rPr kumimoji="0" lang="nl-NL" sz="4000" b="0" i="0" u="none" strike="noStrike" kern="1200" cap="none" spc="0" normalizeH="0" baseline="0" noProof="0" dirty="0">
                <a:ln>
                  <a:noFill/>
                </a:ln>
                <a:solidFill>
                  <a:prstClr val="white"/>
                </a:solidFill>
                <a:effectLst/>
                <a:uLnTx/>
                <a:uFillTx/>
                <a:latin typeface="Calibri" panose="020F0502020204030204"/>
                <a:ea typeface="+mn-ea"/>
                <a:cs typeface="+mn-cs"/>
              </a:rPr>
              <a:t> https://www.researchequals.com/</a:t>
            </a:r>
          </a:p>
        </p:txBody>
      </p:sp>
    </p:spTree>
    <p:extLst>
      <p:ext uri="{BB962C8B-B14F-4D97-AF65-F5344CB8AC3E}">
        <p14:creationId xmlns:p14="http://schemas.microsoft.com/office/powerpoint/2010/main" val="6620702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19BAB07-5E0E-6726-2B35-C6784F7E34E1}"/>
              </a:ext>
            </a:extLst>
          </p:cNvPr>
          <p:cNvPicPr>
            <a:picLocks noGrp="1" noChangeAspect="1"/>
          </p:cNvPicPr>
          <p:nvPr>
            <p:ph idx="1"/>
          </p:nvPr>
        </p:nvPicPr>
        <p:blipFill>
          <a:blip r:embed="rId2"/>
          <a:stretch>
            <a:fillRect/>
          </a:stretch>
        </p:blipFill>
        <p:spPr>
          <a:xfrm>
            <a:off x="913612" y="643466"/>
            <a:ext cx="10364775" cy="5571067"/>
          </a:xfrm>
          <a:prstGeom prst="rect">
            <a:avLst/>
          </a:prstGeom>
        </p:spPr>
      </p:pic>
    </p:spTree>
    <p:extLst>
      <p:ext uri="{BB962C8B-B14F-4D97-AF65-F5344CB8AC3E}">
        <p14:creationId xmlns:p14="http://schemas.microsoft.com/office/powerpoint/2010/main" val="2647080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black text on a white background&#10;&#10;Description automatically generated">
            <a:extLst>
              <a:ext uri="{FF2B5EF4-FFF2-40B4-BE49-F238E27FC236}">
                <a16:creationId xmlns:a16="http://schemas.microsoft.com/office/drawing/2014/main" id="{DD054A5F-3C05-9A63-F6B2-0317FB31E1CA}"/>
              </a:ext>
            </a:extLst>
          </p:cNvPr>
          <p:cNvPicPr>
            <a:picLocks noGrp="1" noChangeAspect="1"/>
          </p:cNvPicPr>
          <p:nvPr>
            <p:ph idx="1"/>
          </p:nvPr>
        </p:nvPicPr>
        <p:blipFill>
          <a:blip r:embed="rId3"/>
          <a:stretch>
            <a:fillRect/>
          </a:stretch>
        </p:blipFill>
        <p:spPr>
          <a:xfrm>
            <a:off x="115908" y="129900"/>
            <a:ext cx="7211818" cy="4182854"/>
          </a:xfrm>
          <a:prstGeom prst="rect">
            <a:avLst/>
          </a:prstGeom>
        </p:spPr>
      </p:pic>
      <p:pic>
        <p:nvPicPr>
          <p:cNvPr id="7" name="Picture 6">
            <a:extLst>
              <a:ext uri="{FF2B5EF4-FFF2-40B4-BE49-F238E27FC236}">
                <a16:creationId xmlns:a16="http://schemas.microsoft.com/office/drawing/2014/main" id="{B41CC390-2B18-EEE5-091C-E34704D2634C}"/>
              </a:ext>
            </a:extLst>
          </p:cNvPr>
          <p:cNvPicPr>
            <a:picLocks noChangeAspect="1"/>
          </p:cNvPicPr>
          <p:nvPr/>
        </p:nvPicPr>
        <p:blipFill>
          <a:blip r:embed="rId4"/>
          <a:stretch>
            <a:fillRect/>
          </a:stretch>
        </p:blipFill>
        <p:spPr>
          <a:xfrm>
            <a:off x="4864274" y="4276678"/>
            <a:ext cx="7211818" cy="2528086"/>
          </a:xfrm>
          <a:prstGeom prst="rect">
            <a:avLst/>
          </a:prstGeom>
        </p:spPr>
      </p:pic>
    </p:spTree>
    <p:extLst>
      <p:ext uri="{BB962C8B-B14F-4D97-AF65-F5344CB8AC3E}">
        <p14:creationId xmlns:p14="http://schemas.microsoft.com/office/powerpoint/2010/main" val="35631848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ts val="7466"/>
              </a:lnSpc>
              <a:spcBef>
                <a:spcPct val="0"/>
              </a:spcBef>
              <a:spcAft>
                <a:spcPct val="0"/>
              </a:spcAft>
              <a:buClrTx/>
              <a:buSzTx/>
              <a:buFontTx/>
              <a:buNone/>
              <a:tabLst/>
              <a:defRPr/>
            </a:pPr>
            <a:endParaRPr kumimoji="0" lang="en-US" sz="5067"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5" name="Title 4"/>
          <p:cNvSpPr>
            <a:spLocks noGrp="1"/>
          </p:cNvSpPr>
          <p:nvPr>
            <p:ph type="ctrTitle"/>
          </p:nvPr>
        </p:nvSpPr>
        <p:spPr>
          <a:xfrm>
            <a:off x="673554" y="2271293"/>
            <a:ext cx="6781777" cy="1812195"/>
          </a:xfrm>
        </p:spPr>
        <p:txBody>
          <a:bodyPr/>
          <a:lstStyle/>
          <a:p>
            <a:r>
              <a:rPr lang="en-US" dirty="0"/>
              <a:t>Peer Review Workbench</a:t>
            </a:r>
            <a:endParaRPr lang="de-DE" dirty="0"/>
          </a:p>
        </p:txBody>
      </p:sp>
      <p:sp>
        <p:nvSpPr>
          <p:cNvPr id="4" name="Text Placeholder 3">
            <a:extLst>
              <a:ext uri="{FF2B5EF4-FFF2-40B4-BE49-F238E27FC236}">
                <a16:creationId xmlns:a16="http://schemas.microsoft.com/office/drawing/2014/main" id="{1ED832C2-E691-4D04-A7E4-6DF6865D5A83}"/>
              </a:ext>
            </a:extLst>
          </p:cNvPr>
          <p:cNvSpPr>
            <a:spLocks noGrp="1"/>
          </p:cNvSpPr>
          <p:nvPr>
            <p:ph type="body" sz="quarter" idx="14"/>
          </p:nvPr>
        </p:nvSpPr>
        <p:spPr>
          <a:xfrm>
            <a:off x="439765" y="6407296"/>
            <a:ext cx="6816945" cy="647408"/>
          </a:xfrm>
        </p:spPr>
        <p:txBody>
          <a:bodyPr/>
          <a:lstStyle/>
          <a:p>
            <a:r>
              <a:rPr lang="en-GB" dirty="0"/>
              <a:t>Chaired by </a:t>
            </a:r>
            <a:r>
              <a:rPr lang="en-GB" dirty="0" err="1"/>
              <a:t>Dr.</a:t>
            </a:r>
            <a:r>
              <a:rPr lang="en-GB" dirty="0"/>
              <a:t> Bahar Mehmani</a:t>
            </a:r>
          </a:p>
        </p:txBody>
      </p:sp>
      <p:sp>
        <p:nvSpPr>
          <p:cNvPr id="6" name="Text Placeholder 5">
            <a:extLst>
              <a:ext uri="{FF2B5EF4-FFF2-40B4-BE49-F238E27FC236}">
                <a16:creationId xmlns:a16="http://schemas.microsoft.com/office/drawing/2014/main" id="{56C9B47C-18BD-4E6E-A041-01FA6DDF3925}"/>
              </a:ext>
            </a:extLst>
          </p:cNvPr>
          <p:cNvSpPr>
            <a:spLocks noGrp="1"/>
          </p:cNvSpPr>
          <p:nvPr>
            <p:ph type="body" sz="quarter" idx="15"/>
          </p:nvPr>
        </p:nvSpPr>
        <p:spPr>
          <a:xfrm>
            <a:off x="673554" y="3268015"/>
            <a:ext cx="7268663" cy="1249363"/>
          </a:xfrm>
        </p:spPr>
        <p:txBody>
          <a:bodyPr/>
          <a:lstStyle/>
          <a:p>
            <a:r>
              <a:rPr lang="en-GB" b="0" i="0" dirty="0">
                <a:solidFill>
                  <a:srgbClr val="000000"/>
                </a:solidFill>
                <a:effectLst/>
                <a:latin typeface="Calibri" panose="020F0502020204030204" pitchFamily="34" charset="0"/>
              </a:rPr>
              <a:t>New dataset offering researchers unique insights into journal peer review process</a:t>
            </a:r>
            <a:endParaRPr lang="en-GB" dirty="0"/>
          </a:p>
        </p:txBody>
      </p:sp>
      <p:pic>
        <p:nvPicPr>
          <p:cNvPr id="7" name="Picture 6" descr="A close-up of a person&#10;&#10;Description automatically generated">
            <a:extLst>
              <a:ext uri="{FF2B5EF4-FFF2-40B4-BE49-F238E27FC236}">
                <a16:creationId xmlns:a16="http://schemas.microsoft.com/office/drawing/2014/main" id="{BE5E9D08-20EC-4EC2-BD01-8955118784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3554" y="4730896"/>
            <a:ext cx="1412825" cy="1676400"/>
          </a:xfrm>
          <a:prstGeom prst="rect">
            <a:avLst/>
          </a:prstGeom>
        </p:spPr>
      </p:pic>
      <p:sp>
        <p:nvSpPr>
          <p:cNvPr id="9" name="TextBox 8">
            <a:extLst>
              <a:ext uri="{FF2B5EF4-FFF2-40B4-BE49-F238E27FC236}">
                <a16:creationId xmlns:a16="http://schemas.microsoft.com/office/drawing/2014/main" id="{31000F3C-5964-0F42-8B10-36F8B1239CEC}"/>
              </a:ext>
            </a:extLst>
          </p:cNvPr>
          <p:cNvSpPr txBox="1"/>
          <p:nvPr/>
        </p:nvSpPr>
        <p:spPr>
          <a:xfrm>
            <a:off x="2906486" y="5277671"/>
            <a:ext cx="613021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0563C1"/>
                </a:solidFill>
                <a:effectLst/>
                <a:uLnTx/>
                <a:uFillTx/>
                <a:latin typeface="Calibri" panose="020F0502020204030204" pitchFamily="34" charset="0"/>
                <a:ea typeface="+mn-ea"/>
                <a:cs typeface="+mn-cs"/>
                <a:hlinkClick r:id="rId8"/>
              </a:rPr>
              <a:t>https://www.elsevier.com/icsr/icsrlab/how to apply</a:t>
            </a:r>
            <a:endParaRPr kumimoji="0" lang="en-GB" sz="1800" b="0" i="0" u="sng" strike="noStrike" kern="1200" cap="none" spc="0" normalizeH="0" baseline="0" noProof="0" dirty="0">
              <a:ln>
                <a:noFill/>
              </a:ln>
              <a:solidFill>
                <a:srgbClr val="0563C1"/>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6120237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7CA4C28B-845D-171F-DDC9-3DAD28572EAE}"/>
              </a:ext>
            </a:extLst>
          </p:cNvPr>
          <p:cNvPicPr>
            <a:picLocks noGrp="1" noChangeAspect="1"/>
          </p:cNvPicPr>
          <p:nvPr>
            <p:ph idx="1"/>
          </p:nvPr>
        </p:nvPicPr>
        <p:blipFill>
          <a:blip r:embed="rId3"/>
          <a:stretch>
            <a:fillRect/>
          </a:stretch>
        </p:blipFill>
        <p:spPr>
          <a:xfrm>
            <a:off x="2430049" y="-1263981"/>
            <a:ext cx="8297192" cy="4459741"/>
          </a:xfrm>
          <a:prstGeom prst="rect">
            <a:avLst/>
          </a:prstGeom>
        </p:spPr>
      </p:pic>
      <p:pic>
        <p:nvPicPr>
          <p:cNvPr id="7" name="Picture 6">
            <a:extLst>
              <a:ext uri="{FF2B5EF4-FFF2-40B4-BE49-F238E27FC236}">
                <a16:creationId xmlns:a16="http://schemas.microsoft.com/office/drawing/2014/main" id="{8FEC7575-AA7F-BEC4-3F25-967AC58F9CFF}"/>
              </a:ext>
            </a:extLst>
          </p:cNvPr>
          <p:cNvPicPr>
            <a:picLocks noChangeAspect="1"/>
          </p:cNvPicPr>
          <p:nvPr/>
        </p:nvPicPr>
        <p:blipFill>
          <a:blip r:embed="rId4"/>
          <a:stretch>
            <a:fillRect/>
          </a:stretch>
        </p:blipFill>
        <p:spPr>
          <a:xfrm>
            <a:off x="0" y="2696147"/>
            <a:ext cx="12192000" cy="2167164"/>
          </a:xfrm>
          <a:prstGeom prst="rect">
            <a:avLst/>
          </a:prstGeom>
        </p:spPr>
      </p:pic>
      <p:pic>
        <p:nvPicPr>
          <p:cNvPr id="9" name="Picture 8">
            <a:extLst>
              <a:ext uri="{FF2B5EF4-FFF2-40B4-BE49-F238E27FC236}">
                <a16:creationId xmlns:a16="http://schemas.microsoft.com/office/drawing/2014/main" id="{A7EB3149-04DE-74E6-9656-B31BEB6B6C5D}"/>
              </a:ext>
            </a:extLst>
          </p:cNvPr>
          <p:cNvPicPr>
            <a:picLocks noChangeAspect="1"/>
          </p:cNvPicPr>
          <p:nvPr/>
        </p:nvPicPr>
        <p:blipFill>
          <a:blip r:embed="rId5"/>
          <a:stretch>
            <a:fillRect/>
          </a:stretch>
        </p:blipFill>
        <p:spPr>
          <a:xfrm>
            <a:off x="0" y="4863311"/>
            <a:ext cx="12192000" cy="1657297"/>
          </a:xfrm>
          <a:prstGeom prst="rect">
            <a:avLst/>
          </a:prstGeom>
        </p:spPr>
      </p:pic>
    </p:spTree>
    <p:extLst>
      <p:ext uri="{BB962C8B-B14F-4D97-AF65-F5344CB8AC3E}">
        <p14:creationId xmlns:p14="http://schemas.microsoft.com/office/powerpoint/2010/main" val="2707345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B339D68-707F-22E9-FCE6-DEE902B85B77}"/>
              </a:ext>
            </a:extLst>
          </p:cNvPr>
          <p:cNvPicPr>
            <a:picLocks noChangeAspect="1"/>
          </p:cNvPicPr>
          <p:nvPr/>
        </p:nvPicPr>
        <p:blipFill>
          <a:blip r:embed="rId2"/>
          <a:stretch>
            <a:fillRect/>
          </a:stretch>
        </p:blipFill>
        <p:spPr>
          <a:xfrm>
            <a:off x="372533" y="632178"/>
            <a:ext cx="11731784" cy="2659581"/>
          </a:xfrm>
          <a:prstGeom prst="rect">
            <a:avLst/>
          </a:prstGeom>
        </p:spPr>
      </p:pic>
      <p:pic>
        <p:nvPicPr>
          <p:cNvPr id="5" name="Picture 4">
            <a:extLst>
              <a:ext uri="{FF2B5EF4-FFF2-40B4-BE49-F238E27FC236}">
                <a16:creationId xmlns:a16="http://schemas.microsoft.com/office/drawing/2014/main" id="{C53910AF-26D5-0CAF-0627-2E0C85820716}"/>
              </a:ext>
            </a:extLst>
          </p:cNvPr>
          <p:cNvPicPr>
            <a:picLocks noChangeAspect="1"/>
          </p:cNvPicPr>
          <p:nvPr/>
        </p:nvPicPr>
        <p:blipFill>
          <a:blip r:embed="rId3"/>
          <a:stretch>
            <a:fillRect/>
          </a:stretch>
        </p:blipFill>
        <p:spPr>
          <a:xfrm>
            <a:off x="372532" y="3776108"/>
            <a:ext cx="11819467" cy="1936070"/>
          </a:xfrm>
          <a:prstGeom prst="rect">
            <a:avLst/>
          </a:prstGeom>
        </p:spPr>
      </p:pic>
    </p:spTree>
    <p:extLst>
      <p:ext uri="{BB962C8B-B14F-4D97-AF65-F5344CB8AC3E}">
        <p14:creationId xmlns:p14="http://schemas.microsoft.com/office/powerpoint/2010/main" val="1184513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22BDE4A-8A20-4A69-9C5A-581C82036A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AD3D36-D7AF-F6EB-B9C9-DFB631E5E8FA}"/>
              </a:ext>
            </a:extLst>
          </p:cNvPr>
          <p:cNvSpPr>
            <a:spLocks noGrp="1"/>
          </p:cNvSpPr>
          <p:nvPr>
            <p:ph type="title"/>
          </p:nvPr>
        </p:nvSpPr>
        <p:spPr>
          <a:xfrm>
            <a:off x="1001684" y="170412"/>
            <a:ext cx="10178934" cy="1328730"/>
          </a:xfrm>
        </p:spPr>
        <p:txBody>
          <a:bodyPr vert="horz" lIns="91440" tIns="45720" rIns="91440" bIns="45720" rtlCol="0" anchor="b">
            <a:normAutofit/>
          </a:bodyPr>
          <a:lstStyle/>
          <a:p>
            <a:pPr algn="ctr"/>
            <a:r>
              <a:rPr lang="en-US" sz="5200" kern="1200">
                <a:solidFill>
                  <a:schemeClr val="tx1"/>
                </a:solidFill>
                <a:latin typeface="+mj-lt"/>
                <a:ea typeface="+mj-ea"/>
                <a:cs typeface="+mj-cs"/>
              </a:rPr>
              <a:t>My mailbox on an average day</a:t>
            </a:r>
          </a:p>
        </p:txBody>
      </p:sp>
      <p:pic>
        <p:nvPicPr>
          <p:cNvPr id="6" name="Content Placeholder 5" descr="A sea creature in the water&#10;&#10;Description automatically generated">
            <a:extLst>
              <a:ext uri="{FF2B5EF4-FFF2-40B4-BE49-F238E27FC236}">
                <a16:creationId xmlns:a16="http://schemas.microsoft.com/office/drawing/2014/main" id="{A409AA0C-812D-83DC-A8E9-653373EE9477}"/>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17034" r="-1" b="-1"/>
          <a:stretch/>
        </p:blipFill>
        <p:spPr>
          <a:xfrm>
            <a:off x="198741" y="2410448"/>
            <a:ext cx="5803323" cy="3890357"/>
          </a:xfrm>
          <a:prstGeom prst="rect">
            <a:avLst/>
          </a:prstGeom>
        </p:spPr>
      </p:pic>
      <p:pic>
        <p:nvPicPr>
          <p:cNvPr id="3" name="Picture 2">
            <a:extLst>
              <a:ext uri="{FF2B5EF4-FFF2-40B4-BE49-F238E27FC236}">
                <a16:creationId xmlns:a16="http://schemas.microsoft.com/office/drawing/2014/main" id="{36839A6E-9678-E5BE-B10F-A4A6867F048E}"/>
              </a:ext>
            </a:extLst>
          </p:cNvPr>
          <p:cNvPicPr>
            <a:picLocks noChangeAspect="1"/>
          </p:cNvPicPr>
          <p:nvPr/>
        </p:nvPicPr>
        <p:blipFill rotWithShape="1">
          <a:blip r:embed="rId3"/>
          <a:srcRect t="12095" r="-3" b="19370"/>
          <a:stretch/>
        </p:blipFill>
        <p:spPr>
          <a:xfrm>
            <a:off x="6189934" y="2410448"/>
            <a:ext cx="5803323" cy="3890357"/>
          </a:xfrm>
          <a:prstGeom prst="rect">
            <a:avLst/>
          </a:prstGeom>
        </p:spPr>
      </p:pic>
    </p:spTree>
    <p:extLst>
      <p:ext uri="{BB962C8B-B14F-4D97-AF65-F5344CB8AC3E}">
        <p14:creationId xmlns:p14="http://schemas.microsoft.com/office/powerpoint/2010/main" val="126589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40BD1ECD-80B7-0D8C-1474-F59CD5354057}"/>
              </a:ext>
            </a:extLst>
          </p:cNvPr>
          <p:cNvSpPr txBox="1"/>
          <p:nvPr/>
        </p:nvSpPr>
        <p:spPr>
          <a:xfrm>
            <a:off x="640080" y="2872899"/>
            <a:ext cx="4243589" cy="3320668"/>
          </a:xfrm>
          <a:prstGeom prst="rect">
            <a:avLst/>
          </a:prstGeom>
        </p:spPr>
        <p:txBody>
          <a:bodyPr vert="horz" lIns="91440" tIns="45720" rIns="91440" bIns="45720" rtlCol="0">
            <a:normAutofit fontScale="92500" lnSpcReduction="20000"/>
          </a:bodyPr>
          <a:lstStyle/>
          <a:p>
            <a:pPr indent="-228600">
              <a:lnSpc>
                <a:spcPct val="90000"/>
              </a:lnSpc>
              <a:spcAft>
                <a:spcPts val="600"/>
              </a:spcAft>
              <a:buFont typeface="Arial" panose="020B0604020202020204" pitchFamily="34" charset="0"/>
              <a:buChar char="•"/>
            </a:pPr>
            <a:r>
              <a:rPr lang="en-US" sz="2200" b="0" i="0" u="none" strike="noStrike" baseline="0" dirty="0"/>
              <a:t>The publish-or-perish culture</a:t>
            </a:r>
          </a:p>
          <a:p>
            <a:pPr indent="-228600">
              <a:lnSpc>
                <a:spcPct val="90000"/>
              </a:lnSpc>
              <a:spcAft>
                <a:spcPts val="600"/>
              </a:spcAft>
              <a:buFont typeface="Arial" panose="020B0604020202020204" pitchFamily="34" charset="0"/>
              <a:buChar char="•"/>
            </a:pPr>
            <a:r>
              <a:rPr lang="en-US" sz="2200" b="0" i="0" u="none" strike="noStrike" baseline="0" dirty="0"/>
              <a:t>lack of awareness of predatory publishing and</a:t>
            </a:r>
          </a:p>
          <a:p>
            <a:pPr indent="-228600">
              <a:lnSpc>
                <a:spcPct val="90000"/>
              </a:lnSpc>
              <a:spcAft>
                <a:spcPts val="600"/>
              </a:spcAft>
              <a:buFont typeface="Arial" panose="020B0604020202020204" pitchFamily="34" charset="0"/>
              <a:buChar char="•"/>
            </a:pPr>
            <a:r>
              <a:rPr lang="en-US" sz="2200" b="0" i="0" u="none" strike="noStrike" baseline="0" dirty="0"/>
              <a:t>difficulty in discerning legitimate from illegitimate publications</a:t>
            </a:r>
          </a:p>
          <a:p>
            <a:pPr indent="-228600">
              <a:lnSpc>
                <a:spcPct val="90000"/>
              </a:lnSpc>
              <a:spcAft>
                <a:spcPts val="600"/>
              </a:spcAft>
              <a:buFont typeface="Arial" panose="020B0604020202020204" pitchFamily="34" charset="0"/>
              <a:buChar char="•"/>
            </a:pPr>
            <a:r>
              <a:rPr lang="en-US" sz="2200" b="0" i="0" u="none" strike="noStrike" baseline="0" dirty="0"/>
              <a:t>Push for open access (Plan S)</a:t>
            </a:r>
          </a:p>
          <a:p>
            <a:pPr>
              <a:lnSpc>
                <a:spcPct val="90000"/>
              </a:lnSpc>
              <a:spcAft>
                <a:spcPts val="600"/>
              </a:spcAft>
            </a:pPr>
            <a:r>
              <a:rPr lang="en-US" sz="2200" i="1" dirty="0"/>
              <a:t>.. </a:t>
            </a:r>
            <a:r>
              <a:rPr lang="en-US" sz="2200" b="0" i="1" u="none" strike="noStrike" baseline="0" dirty="0"/>
              <a:t>foster an environment for predatory publications to exist.</a:t>
            </a:r>
          </a:p>
          <a:p>
            <a:pPr>
              <a:lnSpc>
                <a:spcPct val="90000"/>
              </a:lnSpc>
              <a:spcAft>
                <a:spcPts val="600"/>
              </a:spcAft>
            </a:pPr>
            <a:endParaRPr lang="en-US" sz="2200" dirty="0"/>
          </a:p>
          <a:p>
            <a:pPr>
              <a:lnSpc>
                <a:spcPct val="90000"/>
              </a:lnSpc>
              <a:spcAft>
                <a:spcPts val="600"/>
              </a:spcAft>
            </a:pPr>
            <a:r>
              <a:rPr lang="en-US" sz="2200" b="0" i="0" u="none" strike="noStrike" baseline="0" dirty="0"/>
              <a:t>Predatory journals are quick to adapt to policies and measures designed to foil them.</a:t>
            </a:r>
            <a:endParaRPr lang="en-US" sz="2200" dirty="0"/>
          </a:p>
        </p:txBody>
      </p:sp>
      <p:pic>
        <p:nvPicPr>
          <p:cNvPr id="5" name="Picture 4" descr="Open book">
            <a:extLst>
              <a:ext uri="{FF2B5EF4-FFF2-40B4-BE49-F238E27FC236}">
                <a16:creationId xmlns:a16="http://schemas.microsoft.com/office/drawing/2014/main" id="{C8BB5AFE-9701-869F-40AD-704B1600C3E9}"/>
              </a:ext>
            </a:extLst>
          </p:cNvPr>
          <p:cNvPicPr>
            <a:picLocks noChangeAspect="1"/>
          </p:cNvPicPr>
          <p:nvPr/>
        </p:nvPicPr>
        <p:blipFill rotWithShape="1">
          <a:blip r:embed="rId3"/>
          <a:srcRect l="15857" r="17190"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41855192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descr="A diagram of a variety of colors&#10;&#10;Description automatically generated with medium confidence">
            <a:extLst>
              <a:ext uri="{FF2B5EF4-FFF2-40B4-BE49-F238E27FC236}">
                <a16:creationId xmlns:a16="http://schemas.microsoft.com/office/drawing/2014/main" id="{758CB26A-41CA-B7ED-03E1-25FFF528D0F2}"/>
              </a:ext>
            </a:extLst>
          </p:cNvPr>
          <p:cNvPicPr>
            <a:picLocks noGrp="1" noChangeAspect="1"/>
          </p:cNvPicPr>
          <p:nvPr>
            <p:ph idx="1"/>
          </p:nvPr>
        </p:nvPicPr>
        <p:blipFill>
          <a:blip r:embed="rId3"/>
          <a:stretch>
            <a:fillRect/>
          </a:stretch>
        </p:blipFill>
        <p:spPr>
          <a:xfrm>
            <a:off x="2370667" y="336974"/>
            <a:ext cx="7081398" cy="5877559"/>
          </a:xfrm>
          <a:prstGeom prst="rect">
            <a:avLst/>
          </a:prstGeom>
        </p:spPr>
      </p:pic>
    </p:spTree>
    <p:extLst>
      <p:ext uri="{BB962C8B-B14F-4D97-AF65-F5344CB8AC3E}">
        <p14:creationId xmlns:p14="http://schemas.microsoft.com/office/powerpoint/2010/main" val="3498385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descr="A yellow sign with blue text&#10;&#10;Description automatically generated">
            <a:extLst>
              <a:ext uri="{FF2B5EF4-FFF2-40B4-BE49-F238E27FC236}">
                <a16:creationId xmlns:a16="http://schemas.microsoft.com/office/drawing/2014/main" id="{EC35DA57-71BC-8D61-BF07-47B9E947893B}"/>
              </a:ext>
            </a:extLst>
          </p:cNvPr>
          <p:cNvPicPr>
            <a:picLocks noGrp="1" noChangeAspect="1"/>
          </p:cNvPicPr>
          <p:nvPr>
            <p:ph idx="1"/>
          </p:nvPr>
        </p:nvPicPr>
        <p:blipFill>
          <a:blip r:embed="rId3"/>
          <a:stretch>
            <a:fillRect/>
          </a:stretch>
        </p:blipFill>
        <p:spPr>
          <a:xfrm>
            <a:off x="643467" y="2243073"/>
            <a:ext cx="10905066" cy="2371852"/>
          </a:xfrm>
          <a:prstGeom prst="rect">
            <a:avLst/>
          </a:prstGeom>
        </p:spPr>
      </p:pic>
    </p:spTree>
    <p:extLst>
      <p:ext uri="{BB962C8B-B14F-4D97-AF65-F5344CB8AC3E}">
        <p14:creationId xmlns:p14="http://schemas.microsoft.com/office/powerpoint/2010/main" val="3814256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17306" y="197347"/>
            <a:ext cx="9144000" cy="911710"/>
          </a:xfrm>
        </p:spPr>
        <p:txBody>
          <a:bodyPr>
            <a:normAutofit/>
          </a:bodyPr>
          <a:lstStyle/>
          <a:p>
            <a:r>
              <a:rPr lang="en-GB" sz="4400" b="1" dirty="0">
                <a:solidFill>
                  <a:srgbClr val="00B0F0"/>
                </a:solidFill>
                <a:latin typeface="Times New Roman" panose="02020603050405020304" pitchFamily="18" charset="0"/>
                <a:cs typeface="Times New Roman" panose="02020603050405020304" pitchFamily="18" charset="0"/>
              </a:rPr>
              <a:t>Problems with Peer Review</a:t>
            </a:r>
            <a:endParaRPr lang="en-US" sz="4400" b="1" dirty="0">
              <a:solidFill>
                <a:srgbClr val="00B0F0"/>
              </a:solidFill>
              <a:latin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468D700A-E808-4E0E-9C7B-6C95A272CC85}"/>
              </a:ext>
            </a:extLst>
          </p:cNvPr>
          <p:cNvSpPr txBox="1"/>
          <p:nvPr/>
        </p:nvSpPr>
        <p:spPr>
          <a:xfrm flipH="1">
            <a:off x="485191" y="1281815"/>
            <a:ext cx="10086394" cy="5262979"/>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24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Inability to detec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FFP, or questionable research practic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ignificant) methodological deficiencies of paper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pin in results interpretation and generalizabilit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correct use of referenc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lack of reporting of items needed to reanalyse or replicate stud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tabLst/>
              <a:defRPr/>
            </a:pPr>
            <a:r>
              <a:rPr lang="en-GB" sz="2400" dirty="0">
                <a:solidFill>
                  <a:srgbClr val="FF0000"/>
                </a:solidFill>
                <a:latin typeface="Times New Roman" panose="02020603050405020304" pitchFamily="18" charset="0"/>
                <a:cs typeface="Times New Roman" panose="02020603050405020304" pitchFamily="18" charset="0"/>
              </a:rPr>
              <a:t>And on top of th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ter-rater agreement is </a:t>
            </a:r>
            <a:r>
              <a:rPr kumimoji="0" lang="en-GB" sz="2400" b="0"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poor,</a:t>
            </a:r>
            <a:r>
              <a:rPr kumimoji="0" lang="en-GB" sz="2400" b="0" i="0" u="none" strike="noStrike" kern="1200" cap="none" spc="0" normalizeH="0" baseline="0" noProof="0" dirty="0">
                <a:ln>
                  <a:noFill/>
                </a:ln>
                <a:solidFill>
                  <a:srgbClr val="FF0000"/>
                </a:solidFill>
                <a:effectLst/>
                <a:uLnTx/>
                <a:uFillTx/>
                <a:latin typeface="Times New Roman" panose="02020603050405020304" pitchFamily="18" charset="0"/>
                <a:ea typeface="+mn-ea"/>
                <a:cs typeface="Times New Roman" panose="02020603050405020304" pitchFamily="18" charset="0"/>
              </a:rPr>
              <a:t> </a:t>
            </a: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bsolute agreement </a:t>
            </a:r>
            <a:r>
              <a:rPr kumimoji="0" lang="en-GB" sz="2400" b="0" i="0" u="none" strike="noStrike" kern="1200" cap="none" spc="0" normalizeH="0" baseline="0" noProof="0" dirty="0">
                <a:ln>
                  <a:noFill/>
                </a:ln>
                <a:effectLst/>
                <a:uLnTx/>
                <a:uFillTx/>
                <a:latin typeface="Times New Roman" panose="02020603050405020304" pitchFamily="18" charset="0"/>
                <a:ea typeface="+mn-ea"/>
                <a:cs typeface="Times New Roman" panose="02020603050405020304" pitchFamily="18" charset="0"/>
              </a:rPr>
              <a:t>51%</a:t>
            </a:r>
          </a:p>
          <a:p>
            <a:pPr marL="342900" marR="0" lvl="0"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srgbClr val="FFC000">
                    <a:lumMod val="75000"/>
                  </a:srgbClr>
                </a:solidFill>
                <a:effectLst/>
                <a:uLnTx/>
                <a:uFillTx/>
                <a:latin typeface="Times New Roman" panose="02020603050405020304" pitchFamily="18" charset="0"/>
                <a:ea typeface="+mn-ea"/>
                <a:cs typeface="Times New Roman" panose="02020603050405020304" pitchFamily="18" charset="0"/>
              </a:rPr>
              <a:t>Scepticism toward innovative research</a:t>
            </a:r>
          </a:p>
          <a:p>
            <a:pPr marL="342900" marR="0" lvl="0"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srgbClr val="FFC000">
                    <a:lumMod val="75000"/>
                  </a:srgbClr>
                </a:solidFill>
                <a:effectLst/>
                <a:uLnTx/>
                <a:uFillTx/>
                <a:latin typeface="Times New Roman" panose="02020603050405020304" pitchFamily="18" charset="0"/>
                <a:ea typeface="+mn-ea"/>
                <a:cs typeface="Times New Roman" panose="02020603050405020304" pitchFamily="18" charset="0"/>
              </a:rPr>
              <a:t>Gender and country bias</a:t>
            </a:r>
          </a:p>
          <a:p>
            <a:pPr marL="342900" marR="0" lvl="0"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srgbClr val="FFC000">
                    <a:lumMod val="75000"/>
                  </a:srgbClr>
                </a:solidFill>
                <a:effectLst/>
                <a:uLnTx/>
                <a:uFillTx/>
                <a:latin typeface="Times New Roman" panose="02020603050405020304" pitchFamily="18" charset="0"/>
                <a:ea typeface="+mn-ea"/>
                <a:cs typeface="Times New Roman" panose="02020603050405020304" pitchFamily="18" charset="0"/>
              </a:rPr>
              <a:t>Causes delays between study submission and publication</a:t>
            </a:r>
          </a:p>
          <a:p>
            <a:pPr marL="342900" marR="0" lvl="0"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srgbClr val="00B0F0"/>
                </a:solidFill>
                <a:effectLst/>
                <a:uLnTx/>
                <a:uFillTx/>
                <a:latin typeface="Times New Roman" panose="02020603050405020304" pitchFamily="18" charset="0"/>
                <a:ea typeface="+mn-ea"/>
                <a:cs typeface="Times New Roman" panose="02020603050405020304" pitchFamily="18" charset="0"/>
              </a:rPr>
              <a:t>No CERTIFIED TRAINING PROGRAMS</a:t>
            </a:r>
          </a:p>
          <a:p>
            <a:pPr marL="342900" marR="0" lvl="0"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srgbClr val="00B0F0"/>
                </a:solidFill>
                <a:effectLst/>
                <a:uLnTx/>
                <a:uFillTx/>
                <a:latin typeface="Times New Roman" panose="02020603050405020304" pitchFamily="18" charset="0"/>
                <a:ea typeface="+mn-ea"/>
                <a:cs typeface="Times New Roman" panose="02020603050405020304" pitchFamily="18" charset="0"/>
              </a:rPr>
              <a:t>No consensus on who is a PEER</a:t>
            </a:r>
          </a:p>
          <a:p>
            <a:pPr marL="342900" marR="0" lvl="0"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srgbClr val="00B0F0"/>
                </a:solidFill>
                <a:effectLst/>
                <a:uLnTx/>
                <a:uFillTx/>
                <a:latin typeface="Times New Roman" panose="02020603050405020304" pitchFamily="18" charset="0"/>
                <a:ea typeface="+mn-ea"/>
                <a:cs typeface="Times New Roman" panose="02020603050405020304" pitchFamily="18" charset="0"/>
              </a:rPr>
              <a:t>Some authors do revisions out of fear of rejection, even if nonsensical</a:t>
            </a:r>
            <a:endParaRPr kumimoji="0" lang="en-GB" sz="20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0855A890-B60B-4670-9DC2-69DC05015A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628E642-DD69-B261-0532-301A03E3FF92}"/>
              </a:ext>
            </a:extLst>
          </p:cNvPr>
          <p:cNvSpPr>
            <a:spLocks noGrp="1"/>
          </p:cNvSpPr>
          <p:nvPr>
            <p:ph type="title"/>
          </p:nvPr>
        </p:nvSpPr>
        <p:spPr>
          <a:xfrm>
            <a:off x="454467" y="2023110"/>
            <a:ext cx="2469624" cy="2846070"/>
          </a:xfrm>
        </p:spPr>
        <p:txBody>
          <a:bodyPr vert="horz" lIns="91440" tIns="45720" rIns="91440" bIns="45720" rtlCol="0" anchor="ctr">
            <a:normAutofit/>
          </a:bodyPr>
          <a:lstStyle/>
          <a:p>
            <a:endParaRPr lang="en-US" sz="3700" dirty="0"/>
          </a:p>
        </p:txBody>
      </p:sp>
      <p:sp>
        <p:nvSpPr>
          <p:cNvPr id="21" name="Rectangle 20">
            <a:extLst>
              <a:ext uri="{FF2B5EF4-FFF2-40B4-BE49-F238E27FC236}">
                <a16:creationId xmlns:a16="http://schemas.microsoft.com/office/drawing/2014/main" id="{90F533E9-6690-41A8-A372-4C6C622D02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22480" y="3392097"/>
            <a:ext cx="1719072"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9413ED5-9ED4-4772-BCE4-2BCAE6B12E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7042549" y="-827233"/>
            <a:ext cx="1715478" cy="85834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04357C93-F0CB-4A1C-8F77-4E90637898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07283" y="664308"/>
            <a:ext cx="8082632" cy="560034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501DA359-A6E4-C7B9-FDB8-DE60F54577AE}"/>
              </a:ext>
            </a:extLst>
          </p:cNvPr>
          <p:cNvPicPr>
            <a:picLocks noChangeAspect="1"/>
          </p:cNvPicPr>
          <p:nvPr/>
        </p:nvPicPr>
        <p:blipFill>
          <a:blip r:embed="rId3"/>
          <a:stretch>
            <a:fillRect/>
          </a:stretch>
        </p:blipFill>
        <p:spPr>
          <a:xfrm>
            <a:off x="4530574" y="883463"/>
            <a:ext cx="2750674" cy="2523744"/>
          </a:xfrm>
          <a:prstGeom prst="rect">
            <a:avLst/>
          </a:prstGeom>
        </p:spPr>
      </p:pic>
      <p:pic>
        <p:nvPicPr>
          <p:cNvPr id="11" name="Content Placeholder 10">
            <a:extLst>
              <a:ext uri="{FF2B5EF4-FFF2-40B4-BE49-F238E27FC236}">
                <a16:creationId xmlns:a16="http://schemas.microsoft.com/office/drawing/2014/main" id="{D8724E34-3272-59E4-E76E-5CD5EA4C6592}"/>
              </a:ext>
            </a:extLst>
          </p:cNvPr>
          <p:cNvPicPr>
            <a:picLocks noGrp="1" noChangeAspect="1"/>
          </p:cNvPicPr>
          <p:nvPr>
            <p:ph idx="1"/>
          </p:nvPr>
        </p:nvPicPr>
        <p:blipFill>
          <a:blip r:embed="rId4"/>
          <a:stretch>
            <a:fillRect/>
          </a:stretch>
        </p:blipFill>
        <p:spPr>
          <a:xfrm>
            <a:off x="8176855" y="883463"/>
            <a:ext cx="3204754" cy="2523744"/>
          </a:xfrm>
          <a:prstGeom prst="rect">
            <a:avLst/>
          </a:prstGeom>
        </p:spPr>
      </p:pic>
      <p:pic>
        <p:nvPicPr>
          <p:cNvPr id="5" name="Picture 4">
            <a:extLst>
              <a:ext uri="{FF2B5EF4-FFF2-40B4-BE49-F238E27FC236}">
                <a16:creationId xmlns:a16="http://schemas.microsoft.com/office/drawing/2014/main" id="{294DA0A8-3ADA-8386-30B0-5B921A7B9EC0}"/>
              </a:ext>
            </a:extLst>
          </p:cNvPr>
          <p:cNvPicPr>
            <a:picLocks noChangeAspect="1"/>
          </p:cNvPicPr>
          <p:nvPr/>
        </p:nvPicPr>
        <p:blipFill>
          <a:blip r:embed="rId5"/>
          <a:stretch>
            <a:fillRect/>
          </a:stretch>
        </p:blipFill>
        <p:spPr>
          <a:xfrm>
            <a:off x="4054251" y="3993599"/>
            <a:ext cx="3703320" cy="1666493"/>
          </a:xfrm>
          <a:prstGeom prst="rect">
            <a:avLst/>
          </a:prstGeom>
        </p:spPr>
      </p:pic>
      <p:pic>
        <p:nvPicPr>
          <p:cNvPr id="9" name="Picture 8">
            <a:extLst>
              <a:ext uri="{FF2B5EF4-FFF2-40B4-BE49-F238E27FC236}">
                <a16:creationId xmlns:a16="http://schemas.microsoft.com/office/drawing/2014/main" id="{6646BF1C-AD65-8336-7BD0-5F8521242EEF}"/>
              </a:ext>
            </a:extLst>
          </p:cNvPr>
          <p:cNvPicPr>
            <a:picLocks noChangeAspect="1"/>
          </p:cNvPicPr>
          <p:nvPr/>
        </p:nvPicPr>
        <p:blipFill>
          <a:blip r:embed="rId6"/>
          <a:stretch>
            <a:fillRect/>
          </a:stretch>
        </p:blipFill>
        <p:spPr>
          <a:xfrm>
            <a:off x="7932998" y="4340784"/>
            <a:ext cx="3703320" cy="972121"/>
          </a:xfrm>
          <a:prstGeom prst="rect">
            <a:avLst/>
          </a:prstGeom>
        </p:spPr>
      </p:pic>
      <p:pic>
        <p:nvPicPr>
          <p:cNvPr id="15" name="Picture 14" descr="An axe stuck in a tree stump&#10;&#10;Description automatically generated">
            <a:extLst>
              <a:ext uri="{FF2B5EF4-FFF2-40B4-BE49-F238E27FC236}">
                <a16:creationId xmlns:a16="http://schemas.microsoft.com/office/drawing/2014/main" id="{088B11D3-3F93-33C6-D525-8A9447B4AE3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6698" y="2441257"/>
            <a:ext cx="2276475" cy="2009775"/>
          </a:xfrm>
          <a:prstGeom prst="rect">
            <a:avLst/>
          </a:prstGeom>
        </p:spPr>
      </p:pic>
    </p:spTree>
    <p:extLst>
      <p:ext uri="{BB962C8B-B14F-4D97-AF65-F5344CB8AC3E}">
        <p14:creationId xmlns:p14="http://schemas.microsoft.com/office/powerpoint/2010/main" val="1124695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G9l8xIRiuzTdfEkVg40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4</TotalTime>
  <Words>1055</Words>
  <Application>Microsoft Office PowerPoint</Application>
  <PresentationFormat>Widescreen</PresentationFormat>
  <Paragraphs>106</Paragraphs>
  <Slides>16</Slides>
  <Notes>12</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7" baseType="lpstr">
      <vt:lpstr>Arial</vt:lpstr>
      <vt:lpstr>Calibri</vt:lpstr>
      <vt:lpstr>Calibri Light</vt:lpstr>
      <vt:lpstr>Courier New</vt:lpstr>
      <vt:lpstr>HardingText-Regular</vt:lpstr>
      <vt:lpstr>HardingText-Semibold</vt:lpstr>
      <vt:lpstr>Times New Roman</vt:lpstr>
      <vt:lpstr>Office Theme</vt:lpstr>
      <vt:lpstr>1_Office Theme</vt:lpstr>
      <vt:lpstr>Kantoorthema</vt:lpstr>
      <vt:lpstr>think-cell Slide</vt:lpstr>
      <vt:lpstr>Fake papers, paper mills and peer review</vt:lpstr>
      <vt:lpstr>PowerPoint Presentation</vt:lpstr>
      <vt:lpstr>PowerPoint Presentation</vt:lpstr>
      <vt:lpstr>My mailbox on an average day</vt:lpstr>
      <vt:lpstr>PowerPoint Presentation</vt:lpstr>
      <vt:lpstr>PowerPoint Presentation</vt:lpstr>
      <vt:lpstr>PowerPoint Presentation</vt:lpstr>
      <vt:lpstr>Problems with Peer Review</vt:lpstr>
      <vt:lpstr>PowerPoint Presentation</vt:lpstr>
      <vt:lpstr>Questionable practices “caused” by peer review</vt:lpstr>
      <vt:lpstr>Steps towards the Future</vt:lpstr>
      <vt:lpstr>Structured peer review</vt:lpstr>
      <vt:lpstr>PowerPoint Presentation</vt:lpstr>
      <vt:lpstr>PowerPoint Presentation</vt:lpstr>
      <vt:lpstr>PowerPoint Presentation</vt:lpstr>
      <vt:lpstr>Peer Review Workben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rben ter Riet</dc:creator>
  <cp:lastModifiedBy>Gerben ter Riet</cp:lastModifiedBy>
  <cp:revision>1</cp:revision>
  <dcterms:created xsi:type="dcterms:W3CDTF">2024-06-17T12:37:26Z</dcterms:created>
  <dcterms:modified xsi:type="dcterms:W3CDTF">2024-06-18T12:22:06Z</dcterms:modified>
</cp:coreProperties>
</file>